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4.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6.xml" ContentType="application/vnd.openxmlformats-officedocument.presentationml.notesSlide+xml"/>
  <Override PartName="/ppt/media/image35.bin" ContentType="image/jpeg"/>
  <Override PartName="/ppt/media/image36.bin" ContentType="image/jpeg"/>
  <Override PartName="/ppt/media/image37.bin" ContentType="image/jpeg"/>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6.xml" ContentType="application/vnd.openxmlformats-officedocument.presentationml.tags+xml"/>
  <Override PartName="/ppt/notesSlides/notesSlide1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8.xml" ContentType="application/vnd.openxmlformats-officedocument.presentationml.notesSlide+xml"/>
  <Override PartName="/ppt/tags/tag69.xml" ContentType="application/vnd.openxmlformats-officedocument.presentationml.tags+xml"/>
  <Override PartName="/ppt/notesSlides/notesSlide19.xml" ContentType="application/vnd.openxmlformats-officedocument.presentationml.notesSlide+xml"/>
  <Override PartName="/ppt/tags/tag70.xml" ContentType="application/vnd.openxmlformats-officedocument.presentationml.tags+xml"/>
  <Override PartName="/ppt/notesSlides/notesSlide20.xml" ContentType="application/vnd.openxmlformats-officedocument.presentationml.notesSlide+xml"/>
  <Override PartName="/ppt/tags/tag71.xml" ContentType="application/vnd.openxmlformats-officedocument.presentationml.tags+xml"/>
  <Override PartName="/ppt/notesSlides/notesSlide21.xml" ContentType="application/vnd.openxmlformats-officedocument.presentationml.notesSlide+xml"/>
  <Override PartName="/ppt/tags/tag72.xml" ContentType="application/vnd.openxmlformats-officedocument.presentationml.tags+xml"/>
  <Override PartName="/ppt/notesSlides/notesSlide22.xml" ContentType="application/vnd.openxmlformats-officedocument.presentationml.notesSlide+xml"/>
  <Override PartName="/ppt/tags/tag73.xml" ContentType="application/vnd.openxmlformats-officedocument.presentationml.tags+xml"/>
  <Override PartName="/ppt/notesSlides/notesSlide23.xml" ContentType="application/vnd.openxmlformats-officedocument.presentationml.notesSlide+xml"/>
  <Override PartName="/ppt/tags/tag74.xml" ContentType="application/vnd.openxmlformats-officedocument.presentationml.tags+xml"/>
  <Override PartName="/ppt/notesSlides/notesSlide24.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5.xml" ContentType="application/vnd.openxmlformats-officedocument.presentationml.notesSlide+xml"/>
  <Override PartName="/ppt/tags/tag77.xml" ContentType="application/vnd.openxmlformats-officedocument.presentationml.tags+xml"/>
  <Override PartName="/ppt/notesSlides/notesSlide26.xml" ContentType="application/vnd.openxmlformats-officedocument.presentationml.notesSlide+xml"/>
  <Override PartName="/ppt/tags/tag78.xml" ContentType="application/vnd.openxmlformats-officedocument.presentationml.tags+xml"/>
  <Override PartName="/ppt/notesSlides/notesSlide27.xml" ContentType="application/vnd.openxmlformats-officedocument.presentationml.notesSlide+xml"/>
  <Override PartName="/ppt/tags/tag79.xml" ContentType="application/vnd.openxmlformats-officedocument.presentationml.tags+xml"/>
  <Override PartName="/ppt/notesSlides/notesSlide28.xml" ContentType="application/vnd.openxmlformats-officedocument.presentationml.notesSlide+xml"/>
  <Override PartName="/ppt/tags/tag80.xml" ContentType="application/vnd.openxmlformats-officedocument.presentationml.tags+xml"/>
  <Override PartName="/ppt/notesSlides/notesSlide29.xml" ContentType="application/vnd.openxmlformats-officedocument.presentationml.notesSlide+xml"/>
  <Override PartName="/ppt/tags/tag81.xml" ContentType="application/vnd.openxmlformats-officedocument.presentationml.tags+xml"/>
  <Override PartName="/ppt/notesSlides/notesSlide30.xml" ContentType="application/vnd.openxmlformats-officedocument.presentationml.notesSlide+xml"/>
  <Override PartName="/ppt/tags/tag82.xml" ContentType="application/vnd.openxmlformats-officedocument.presentationml.tags+xml"/>
  <Override PartName="/ppt/notesSlides/notesSlide3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3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3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34.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3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36.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37.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38.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39.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40.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4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7.xml" ContentType="application/vnd.openxmlformats-officedocument.presentationml.tags+xml"/>
  <Override PartName="/ppt/tags/tag118.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5" r:id="rId1"/>
  </p:sldMasterIdLst>
  <p:notesMasterIdLst>
    <p:notesMasterId r:id="rId52"/>
  </p:notesMasterIdLst>
  <p:handoutMasterIdLst>
    <p:handoutMasterId r:id="rId53"/>
  </p:handoutMasterIdLst>
  <p:sldIdLst>
    <p:sldId id="372" r:id="rId2"/>
    <p:sldId id="383" r:id="rId3"/>
    <p:sldId id="293" r:id="rId4"/>
    <p:sldId id="396" r:id="rId5"/>
    <p:sldId id="340" r:id="rId6"/>
    <p:sldId id="299" r:id="rId7"/>
    <p:sldId id="286" r:id="rId8"/>
    <p:sldId id="391" r:id="rId9"/>
    <p:sldId id="385" r:id="rId10"/>
    <p:sldId id="388" r:id="rId11"/>
    <p:sldId id="389" r:id="rId12"/>
    <p:sldId id="390" r:id="rId13"/>
    <p:sldId id="304" r:id="rId14"/>
    <p:sldId id="387" r:id="rId15"/>
    <p:sldId id="277" r:id="rId16"/>
    <p:sldId id="287" r:id="rId17"/>
    <p:sldId id="386" r:id="rId18"/>
    <p:sldId id="290" r:id="rId19"/>
    <p:sldId id="271" r:id="rId20"/>
    <p:sldId id="279" r:id="rId21"/>
    <p:sldId id="360" r:id="rId22"/>
    <p:sldId id="382" r:id="rId23"/>
    <p:sldId id="361" r:id="rId24"/>
    <p:sldId id="363" r:id="rId25"/>
    <p:sldId id="374" r:id="rId26"/>
    <p:sldId id="364" r:id="rId27"/>
    <p:sldId id="365" r:id="rId28"/>
    <p:sldId id="366" r:id="rId29"/>
    <p:sldId id="367" r:id="rId30"/>
    <p:sldId id="381" r:id="rId31"/>
    <p:sldId id="368" r:id="rId32"/>
    <p:sldId id="375" r:id="rId33"/>
    <p:sldId id="370" r:id="rId34"/>
    <p:sldId id="371" r:id="rId35"/>
    <p:sldId id="376" r:id="rId36"/>
    <p:sldId id="377" r:id="rId37"/>
    <p:sldId id="379" r:id="rId38"/>
    <p:sldId id="380" r:id="rId39"/>
    <p:sldId id="393" r:id="rId40"/>
    <p:sldId id="306" r:id="rId41"/>
    <p:sldId id="338" r:id="rId42"/>
    <p:sldId id="345" r:id="rId43"/>
    <p:sldId id="346" r:id="rId44"/>
    <p:sldId id="342" r:id="rId45"/>
    <p:sldId id="268" r:id="rId46"/>
    <p:sldId id="392" r:id="rId47"/>
    <p:sldId id="285" r:id="rId48"/>
    <p:sldId id="281" r:id="rId49"/>
    <p:sldId id="273" r:id="rId50"/>
    <p:sldId id="395" r:id="rId51"/>
  </p:sldIdLst>
  <p:sldSz cx="12192000" cy="6858000"/>
  <p:notesSz cx="6858000" cy="9144000"/>
  <p:custDataLst>
    <p:tags r:id="rId5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nerbeck Anke, CB-1" initials="DAC" lastIdx="16" clrIdx="0">
    <p:extLst>
      <p:ext uri="{19B8F6BF-5375-455C-9EA6-DF929625EA0E}">
        <p15:presenceInfo xmlns:p15="http://schemas.microsoft.com/office/powerpoint/2012/main" userId="S::anke.dannerbeck@bmwgroup.com::fd0449d5-378d-4b92-af7e-1dec4ec42989" providerId="AD"/>
      </p:ext>
    </p:extLst>
  </p:cmAuthor>
  <p:cmAuthor id="2" name="Mazur Karen, AU-1" initials="MKA" lastIdx="21" clrIdx="1">
    <p:extLst>
      <p:ext uri="{19B8F6BF-5375-455C-9EA6-DF929625EA0E}">
        <p15:presenceInfo xmlns:p15="http://schemas.microsoft.com/office/powerpoint/2012/main" userId="Mazur Karen, AU-1" providerId="None"/>
      </p:ext>
    </p:extLst>
  </p:cmAuthor>
  <p:cmAuthor id="3" name="Karen" initials="K" lastIdx="1" clrIdx="2">
    <p:extLst>
      <p:ext uri="{19B8F6BF-5375-455C-9EA6-DF929625EA0E}">
        <p15:presenceInfo xmlns:p15="http://schemas.microsoft.com/office/powerpoint/2012/main" userId="Kar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E5EC"/>
    <a:srgbClr val="DEE5EC"/>
    <a:srgbClr val="6F6F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5"/>
          </a:solidFill>
        </a:fill>
      </a:tcStyle>
    </a:band1H>
    <a:band2H>
      <a:tcStyle>
        <a:tcBdr/>
      </a:tcStyle>
    </a:band2H>
    <a:band1V>
      <a:tcStyle>
        <a:tcBdr/>
        <a:fill>
          <a:solidFill>
            <a:schemeClr val="accent5"/>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402" autoAdjust="0"/>
  </p:normalViewPr>
  <p:slideViewPr>
    <p:cSldViewPr snapToGrid="0">
      <p:cViewPr varScale="1">
        <p:scale>
          <a:sx n="111" d="100"/>
          <a:sy n="111" d="100"/>
        </p:scale>
        <p:origin x="594" y="8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77" d="100"/>
          <a:sy n="77" d="100"/>
        </p:scale>
        <p:origin x="3012"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percentStacked"/>
        <c:varyColors val="0"/>
        <c:ser>
          <c:idx val="0"/>
          <c:order val="0"/>
          <c:tx>
            <c:strRef>
              <c:f>Tabelle1!$B$1</c:f>
              <c:strCache>
                <c:ptCount val="1"/>
                <c:pt idx="0">
                  <c:v>Datenreihe 1</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2-993F-4F28-A947-F0A9F39C7194}"/>
              </c:ext>
            </c:extLst>
          </c:dPt>
          <c:dPt>
            <c:idx val="1"/>
            <c:invertIfNegative val="0"/>
            <c:bubble3D val="0"/>
            <c:spPr>
              <a:solidFill>
                <a:schemeClr val="tx2"/>
              </a:solidFill>
              <a:ln>
                <a:noFill/>
              </a:ln>
              <a:effectLst/>
            </c:spPr>
            <c:extLst>
              <c:ext xmlns:c16="http://schemas.microsoft.com/office/drawing/2014/chart" uri="{C3380CC4-5D6E-409C-BE32-E72D297353CC}">
                <c16:uniqueId val="{00000003-993F-4F28-A947-F0A9F39C7194}"/>
              </c:ext>
            </c:extLst>
          </c:dPt>
          <c:dPt>
            <c:idx val="2"/>
            <c:invertIfNegative val="0"/>
            <c:bubble3D val="0"/>
            <c:spPr>
              <a:solidFill>
                <a:schemeClr val="tx2"/>
              </a:solidFill>
              <a:ln>
                <a:noFill/>
              </a:ln>
              <a:effectLst/>
            </c:spPr>
            <c:extLst>
              <c:ext xmlns:c16="http://schemas.microsoft.com/office/drawing/2014/chart" uri="{C3380CC4-5D6E-409C-BE32-E72D297353CC}">
                <c16:uniqueId val="{00000004-993F-4F28-A947-F0A9F39C7194}"/>
              </c:ext>
            </c:extLst>
          </c:dPt>
          <c:dPt>
            <c:idx val="3"/>
            <c:invertIfNegative val="0"/>
            <c:bubble3D val="0"/>
            <c:spPr>
              <a:solidFill>
                <a:schemeClr val="tx2"/>
              </a:solidFill>
              <a:ln>
                <a:noFill/>
              </a:ln>
              <a:effectLst/>
            </c:spPr>
            <c:extLst>
              <c:ext xmlns:c16="http://schemas.microsoft.com/office/drawing/2014/chart" uri="{C3380CC4-5D6E-409C-BE32-E72D297353CC}">
                <c16:uniqueId val="{00000005-993F-4F28-A947-F0A9F39C7194}"/>
              </c:ext>
            </c:extLst>
          </c:dPt>
          <c:dPt>
            <c:idx val="4"/>
            <c:invertIfNegative val="0"/>
            <c:bubble3D val="0"/>
            <c:spPr>
              <a:solidFill>
                <a:schemeClr val="tx2"/>
              </a:solidFill>
              <a:ln>
                <a:noFill/>
              </a:ln>
              <a:effectLst/>
            </c:spPr>
            <c:extLst>
              <c:ext xmlns:c16="http://schemas.microsoft.com/office/drawing/2014/chart" uri="{C3380CC4-5D6E-409C-BE32-E72D297353CC}">
                <c16:uniqueId val="{00000001-993F-4F28-A947-F0A9F39C7194}"/>
              </c:ext>
            </c:extLst>
          </c:dPt>
          <c:dPt>
            <c:idx val="5"/>
            <c:invertIfNegative val="0"/>
            <c:bubble3D val="0"/>
            <c:spPr>
              <a:solidFill>
                <a:schemeClr val="tx2"/>
              </a:solidFill>
              <a:ln>
                <a:noFill/>
              </a:ln>
              <a:effectLst/>
            </c:spPr>
            <c:extLst>
              <c:ext xmlns:c16="http://schemas.microsoft.com/office/drawing/2014/chart" uri="{C3380CC4-5D6E-409C-BE32-E72D297353CC}">
                <c16:uniqueId val="{00000006-993F-4F28-A947-F0A9F39C7194}"/>
              </c:ext>
            </c:extLst>
          </c:dPt>
          <c:dPt>
            <c:idx val="6"/>
            <c:invertIfNegative val="0"/>
            <c:bubble3D val="0"/>
            <c:spPr>
              <a:solidFill>
                <a:schemeClr val="tx2"/>
              </a:solidFill>
              <a:ln>
                <a:noFill/>
              </a:ln>
              <a:effectLst/>
            </c:spPr>
            <c:extLst>
              <c:ext xmlns:c16="http://schemas.microsoft.com/office/drawing/2014/chart" uri="{C3380CC4-5D6E-409C-BE32-E72D297353CC}">
                <c16:uniqueId val="{00000007-993F-4F28-A947-F0A9F39C7194}"/>
              </c:ext>
            </c:extLst>
          </c:dPt>
          <c:dLbls>
            <c:dLbl>
              <c:idx val="0"/>
              <c:layout>
                <c:manualLayout>
                  <c:x val="-6.3293523373187134E-18"/>
                  <c:y val="-0.192198953062822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3F-4F28-A947-F0A9F39C7194}"/>
                </c:ext>
              </c:extLst>
            </c:dLbl>
            <c:dLbl>
              <c:idx val="1"/>
              <c:layout>
                <c:manualLayout>
                  <c:x val="-2.5317409349274853E-17"/>
                  <c:y val="-0.1086465064567348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93F-4F28-A947-F0A9F39C7194}"/>
                </c:ext>
              </c:extLst>
            </c:dLbl>
            <c:dLbl>
              <c:idx val="2"/>
              <c:layout>
                <c:manualLayout>
                  <c:x val="-5.0634818698549707E-17"/>
                  <c:y val="-0.15638142858976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3F-4F28-A947-F0A9F39C7194}"/>
                </c:ext>
              </c:extLst>
            </c:dLbl>
            <c:dLbl>
              <c:idx val="3"/>
              <c:layout>
                <c:manualLayout>
                  <c:x val="0"/>
                  <c:y val="-0.198190084312625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93F-4F28-A947-F0A9F39C7194}"/>
                </c:ext>
              </c:extLst>
            </c:dLbl>
            <c:dLbl>
              <c:idx val="4"/>
              <c:layout>
                <c:manualLayout>
                  <c:x val="0"/>
                  <c:y val="-0.29965152648200416"/>
                </c:manualLayout>
              </c:layout>
              <c:tx>
                <c:rich>
                  <a:bodyPr rot="0" spcFirstLastPara="1" vertOverflow="clip" horzOverflow="clip" vert="horz" wrap="square" lIns="36576" tIns="18288" rIns="36576" bIns="18288" anchor="ctr" anchorCtr="1">
                    <a:spAutoFit/>
                  </a:bodyPr>
                  <a:lstStyle/>
                  <a:p>
                    <a:pPr>
                      <a:defRPr sz="1600" b="0" i="0" u="none" strike="noStrike" kern="1200" baseline="0">
                        <a:solidFill>
                          <a:srgbClr val="3F7BFD"/>
                        </a:solidFill>
                        <a:latin typeface="+mn-lt"/>
                        <a:ea typeface="+mn-ea"/>
                        <a:cs typeface="+mn-cs"/>
                      </a:defRPr>
                    </a:pPr>
                    <a:fld id="{F41B9471-B63A-4B72-B2AF-47BE1A0D83C0}" type="VALUE">
                      <a:rPr lang="en-US" b="1">
                        <a:solidFill>
                          <a:srgbClr val="079EDA"/>
                        </a:solidFill>
                      </a:rPr>
                      <a:pPr>
                        <a:defRPr sz="1600">
                          <a:solidFill>
                            <a:srgbClr val="3F7BFD"/>
                          </a:solidFill>
                        </a:defRPr>
                      </a:pPr>
                      <a:t>[VALUE]</a:t>
                    </a:fld>
                    <a:endParaRPr lang="en-US"/>
                  </a:p>
                </c:rich>
              </c:tx>
              <c:spPr>
                <a:solidFill>
                  <a:schemeClr val="lt1"/>
                </a:solidFill>
                <a:ln w="38100">
                  <a:solidFill>
                    <a:schemeClr val="tx2"/>
                  </a:solidFill>
                </a:ln>
                <a:effectLst/>
              </c:spPr>
              <c:txPr>
                <a:bodyPr rot="0" spcFirstLastPara="1" vertOverflow="clip" horzOverflow="clip" vert="horz" wrap="square" lIns="36576" tIns="18288" rIns="36576" bIns="18288" anchor="ctr" anchorCtr="1">
                  <a:spAutoFit/>
                </a:bodyPr>
                <a:lstStyle/>
                <a:p>
                  <a:pPr>
                    <a:defRPr sz="1600" b="0" i="0" u="none" strike="noStrike" kern="1200" baseline="0">
                      <a:solidFill>
                        <a:srgbClr val="3F7BFD"/>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ellipse">
                      <a:avLst/>
                    </a:prstGeom>
                    <a:noFill/>
                    <a:ln>
                      <a:noFill/>
                    </a:ln>
                  </c15:spPr>
                  <c15:dlblFieldTable/>
                  <c15:showDataLabelsRange val="0"/>
                </c:ext>
                <c:ext xmlns:c16="http://schemas.microsoft.com/office/drawing/2014/chart" uri="{C3380CC4-5D6E-409C-BE32-E72D297353CC}">
                  <c16:uniqueId val="{00000001-993F-4F28-A947-F0A9F39C7194}"/>
                </c:ext>
              </c:extLst>
            </c:dLbl>
            <c:dLbl>
              <c:idx val="5"/>
              <c:layout>
                <c:manualLayout>
                  <c:x val="0"/>
                  <c:y val="-0.2548796208906782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93F-4F28-A947-F0A9F39C7194}"/>
                </c:ext>
              </c:extLst>
            </c:dLbl>
            <c:dLbl>
              <c:idx val="6"/>
              <c:layout>
                <c:manualLayout>
                  <c:x val="0"/>
                  <c:y val="-0.1026553752069316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93F-4F28-A947-F0A9F39C7194}"/>
                </c:ext>
              </c:extLst>
            </c:dLbl>
            <c:spPr>
              <a:solidFill>
                <a:schemeClr val="lt1"/>
              </a:solidFill>
              <a:ln w="38100">
                <a:solidFill>
                  <a:schemeClr val="tx2"/>
                </a:solidFill>
              </a:ln>
              <a:effectLst/>
            </c:spPr>
            <c:txPr>
              <a:bodyPr rot="0" spcFirstLastPara="1" vertOverflow="clip" horzOverflow="clip" vert="horz" wrap="square" lIns="36576" tIns="18288" rIns="36576" bIns="18288" anchor="ctr" anchorCtr="1">
                <a:spAutoFit/>
              </a:bodyPr>
              <a:lstStyle/>
              <a:p>
                <a:pPr>
                  <a:defRPr sz="16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showLeaderLines val="1"/>
                <c15:leaderLines>
                  <c:spPr>
                    <a:ln w="9525" cap="flat" cmpd="sng" algn="ctr">
                      <a:solidFill>
                        <a:schemeClr val="tx1">
                          <a:lumMod val="35000"/>
                          <a:lumOff val="65000"/>
                        </a:schemeClr>
                      </a:solidFill>
                      <a:prstDash val="solid"/>
                      <a:round/>
                    </a:ln>
                    <a:effectLst/>
                  </c:spPr>
                </c15:leaderLines>
              </c:ext>
            </c:extLst>
          </c:dLbls>
          <c:cat>
            <c:strRef>
              <c:f>Tabelle1!$A$2:$A$8</c:f>
              <c:strCache>
                <c:ptCount val="7"/>
                <c:pt idx="0">
                  <c:v>Kategorie 1</c:v>
                </c:pt>
                <c:pt idx="1">
                  <c:v>Kategorie 2</c:v>
                </c:pt>
                <c:pt idx="2">
                  <c:v>Kategorie 3</c:v>
                </c:pt>
                <c:pt idx="3">
                  <c:v>Kategorie 4</c:v>
                </c:pt>
                <c:pt idx="4">
                  <c:v>Kategorie 5</c:v>
                </c:pt>
                <c:pt idx="5">
                  <c:v>Kategorie 6</c:v>
                </c:pt>
                <c:pt idx="6">
                  <c:v>Kategorie 7</c:v>
                </c:pt>
              </c:strCache>
            </c:strRef>
          </c:cat>
          <c:val>
            <c:numRef>
              <c:f>Tabelle1!$B$2:$B$8</c:f>
              <c:numCache>
                <c:formatCode>General</c:formatCode>
                <c:ptCount val="7"/>
                <c:pt idx="0">
                  <c:v>43</c:v>
                </c:pt>
                <c:pt idx="1">
                  <c:v>25</c:v>
                </c:pt>
                <c:pt idx="2">
                  <c:v>35</c:v>
                </c:pt>
                <c:pt idx="3">
                  <c:v>45</c:v>
                </c:pt>
                <c:pt idx="4">
                  <c:v>67</c:v>
                </c:pt>
                <c:pt idx="5">
                  <c:v>57</c:v>
                </c:pt>
                <c:pt idx="6">
                  <c:v>23</c:v>
                </c:pt>
              </c:numCache>
            </c:numRef>
          </c:val>
          <c:extLst>
            <c:ext xmlns:c16="http://schemas.microsoft.com/office/drawing/2014/chart" uri="{C3380CC4-5D6E-409C-BE32-E72D297353CC}">
              <c16:uniqueId val="{00000008-993F-4F28-A947-F0A9F39C7194}"/>
            </c:ext>
          </c:extLst>
        </c:ser>
        <c:ser>
          <c:idx val="1"/>
          <c:order val="1"/>
          <c:tx>
            <c:strRef>
              <c:f>Tabelle1!$C$1</c:f>
              <c:strCache>
                <c:ptCount val="1"/>
                <c:pt idx="0">
                  <c:v>Datenreihe 2</c:v>
                </c:pt>
              </c:strCache>
            </c:strRef>
          </c:tx>
          <c:spPr>
            <a:solidFill>
              <a:schemeClr val="accent2">
                <a:tint val="77000"/>
              </a:schemeClr>
            </a:solidFill>
            <a:ln>
              <a:noFill/>
            </a:ln>
            <a:effectLst/>
          </c:spPr>
          <c:invertIfNegative val="0"/>
          <c:dLbls>
            <c:delete val="1"/>
          </c:dLbls>
          <c:cat>
            <c:strRef>
              <c:f>Tabelle1!$A$2:$A$8</c:f>
              <c:strCache>
                <c:ptCount val="7"/>
                <c:pt idx="0">
                  <c:v>Kategorie 1</c:v>
                </c:pt>
                <c:pt idx="1">
                  <c:v>Kategorie 2</c:v>
                </c:pt>
                <c:pt idx="2">
                  <c:v>Kategorie 3</c:v>
                </c:pt>
                <c:pt idx="3">
                  <c:v>Kategorie 4</c:v>
                </c:pt>
                <c:pt idx="4">
                  <c:v>Kategorie 5</c:v>
                </c:pt>
                <c:pt idx="5">
                  <c:v>Kategorie 6</c:v>
                </c:pt>
                <c:pt idx="6">
                  <c:v>Kategorie 7</c:v>
                </c:pt>
              </c:strCache>
            </c:strRef>
          </c:cat>
          <c:val>
            <c:numRef>
              <c:f>Tabelle1!$C$2:$C$8</c:f>
              <c:numCache>
                <c:formatCode>General</c:formatCode>
                <c:ptCount val="7"/>
                <c:pt idx="0">
                  <c:v>57</c:v>
                </c:pt>
                <c:pt idx="1">
                  <c:v>75</c:v>
                </c:pt>
                <c:pt idx="2">
                  <c:v>65</c:v>
                </c:pt>
                <c:pt idx="3">
                  <c:v>55</c:v>
                </c:pt>
                <c:pt idx="4">
                  <c:v>33</c:v>
                </c:pt>
                <c:pt idx="5">
                  <c:v>43</c:v>
                </c:pt>
                <c:pt idx="6">
                  <c:v>77</c:v>
                </c:pt>
              </c:numCache>
            </c:numRef>
          </c:val>
          <c:extLst>
            <c:ext xmlns:c16="http://schemas.microsoft.com/office/drawing/2014/chart" uri="{C3380CC4-5D6E-409C-BE32-E72D297353CC}">
              <c16:uniqueId val="{00000009-993F-4F28-A947-F0A9F39C7194}"/>
            </c:ext>
          </c:extLst>
        </c:ser>
        <c:dLbls>
          <c:dLblPos val="ctr"/>
          <c:showLegendKey val="0"/>
          <c:showVal val="1"/>
          <c:showCatName val="0"/>
          <c:showSerName val="0"/>
          <c:showPercent val="0"/>
          <c:showBubbleSize val="0"/>
        </c:dLbls>
        <c:gapWidth val="100"/>
        <c:overlap val="100"/>
        <c:axId val="737776776"/>
        <c:axId val="737777952"/>
      </c:barChart>
      <c:catAx>
        <c:axId val="737776776"/>
        <c:scaling>
          <c:orientation val="minMax"/>
        </c:scaling>
        <c:delete val="0"/>
        <c:axPos val="b"/>
        <c:numFmt formatCode="General" sourceLinked="1"/>
        <c:majorTickMark val="none"/>
        <c:minorTickMark val="none"/>
        <c:tickLblPos val="nextTo"/>
        <c:spPr>
          <a:noFill/>
          <a:ln w="9525" cap="flat" cmpd="sng" algn="ctr">
            <a:solidFill>
              <a:schemeClr val="tx2"/>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737777952"/>
        <c:crosses val="autoZero"/>
        <c:auto val="1"/>
        <c:lblAlgn val="ctr"/>
        <c:lblOffset val="100"/>
        <c:noMultiLvlLbl val="0"/>
      </c:catAx>
      <c:valAx>
        <c:axId val="737777952"/>
        <c:scaling>
          <c:orientation val="minMax"/>
        </c:scaling>
        <c:delete val="1"/>
        <c:axPos val="l"/>
        <c:numFmt formatCode="0%" sourceLinked="1"/>
        <c:majorTickMark val="none"/>
        <c:minorTickMark val="none"/>
        <c:tickLblPos val="nextTo"/>
        <c:crossAx val="737776776"/>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4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doughnutChart>
        <c:varyColors val="1"/>
        <c:ser>
          <c:idx val="0"/>
          <c:order val="0"/>
          <c:tx>
            <c:strRef>
              <c:f>Tabelle1!$B$1</c:f>
              <c:strCache>
                <c:ptCount val="1"/>
                <c:pt idx="0">
                  <c:v>Datenreihe 1</c:v>
                </c:pt>
              </c:strCache>
            </c:strRef>
          </c:tx>
          <c:spPr>
            <a:ln w="19050">
              <a:solidFill>
                <a:schemeClr val="bg1"/>
              </a:solidFill>
            </a:ln>
          </c:spPr>
          <c:dPt>
            <c:idx val="0"/>
            <c:bubble3D val="0"/>
            <c:explosion val="17"/>
            <c:spPr>
              <a:solidFill>
                <a:srgbClr val="079EDA"/>
              </a:solidFill>
              <a:ln w="19050">
                <a:solidFill>
                  <a:schemeClr val="bg1"/>
                </a:solidFill>
              </a:ln>
              <a:effectLst/>
            </c:spPr>
            <c:extLst>
              <c:ext xmlns:c16="http://schemas.microsoft.com/office/drawing/2014/chart" uri="{C3380CC4-5D6E-409C-BE32-E72D297353CC}">
                <c16:uniqueId val="{00000001-64B4-4244-AF0E-0DB2D6D1A439}"/>
              </c:ext>
            </c:extLst>
          </c:dPt>
          <c:dPt>
            <c:idx val="1"/>
            <c:bubble3D val="0"/>
            <c:spPr>
              <a:solidFill>
                <a:schemeClr val="accent1"/>
              </a:solidFill>
              <a:ln w="19050">
                <a:solidFill>
                  <a:schemeClr val="bg1"/>
                </a:solidFill>
              </a:ln>
              <a:effectLst/>
            </c:spPr>
            <c:extLst>
              <c:ext xmlns:c16="http://schemas.microsoft.com/office/drawing/2014/chart" uri="{C3380CC4-5D6E-409C-BE32-E72D297353CC}">
                <c16:uniqueId val="{00000003-64B4-4244-AF0E-0DB2D6D1A439}"/>
              </c:ext>
            </c:extLst>
          </c:dPt>
          <c:dPt>
            <c:idx val="2"/>
            <c:bubble3D val="0"/>
            <c:spPr>
              <a:solidFill>
                <a:schemeClr val="accent2"/>
              </a:solidFill>
              <a:ln w="19050">
                <a:solidFill>
                  <a:schemeClr val="bg1"/>
                </a:solidFill>
              </a:ln>
              <a:effectLst/>
            </c:spPr>
            <c:extLst>
              <c:ext xmlns:c16="http://schemas.microsoft.com/office/drawing/2014/chart" uri="{C3380CC4-5D6E-409C-BE32-E72D297353CC}">
                <c16:uniqueId val="{00000005-64B4-4244-AF0E-0DB2D6D1A439}"/>
              </c:ext>
            </c:extLst>
          </c:dPt>
          <c:dPt>
            <c:idx val="3"/>
            <c:bubble3D val="0"/>
            <c:spPr>
              <a:solidFill>
                <a:schemeClr val="accent3"/>
              </a:solidFill>
              <a:ln w="19050">
                <a:solidFill>
                  <a:schemeClr val="bg1"/>
                </a:solidFill>
              </a:ln>
              <a:effectLst/>
            </c:spPr>
            <c:extLst>
              <c:ext xmlns:c16="http://schemas.microsoft.com/office/drawing/2014/chart" uri="{C3380CC4-5D6E-409C-BE32-E72D297353CC}">
                <c16:uniqueId val="{00000007-64B4-4244-AF0E-0DB2D6D1A439}"/>
              </c:ext>
            </c:extLst>
          </c:dPt>
          <c:dLbls>
            <c:dLbl>
              <c:idx val="0"/>
              <c:layout>
                <c:manualLayout>
                  <c:x val="-0.24309136606137524"/>
                  <c:y val="-1.3428826984457583E-2"/>
                </c:manualLayout>
              </c:layout>
              <c:spPr>
                <a:noFill/>
                <a:ln>
                  <a:noFill/>
                </a:ln>
                <a:effectLst/>
              </c:spPr>
              <c:txPr>
                <a:bodyPr rot="0" spcFirstLastPara="1" vertOverflow="ellipsis" vert="horz" wrap="square" lIns="38100" tIns="19050" rIns="38100" bIns="19050" anchor="ctr" anchorCtr="0">
                  <a:spAutoFit/>
                </a:bodyPr>
                <a:lstStyle/>
                <a:p>
                  <a:pPr algn="r">
                    <a:defRPr sz="2000" b="0" i="0" u="none" strike="noStrike" kern="1200" baseline="0">
                      <a:solidFill>
                        <a:srgbClr val="079EDA"/>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3699272789108842"/>
                      <c:h val="0.19268766176624844"/>
                    </c:manualLayout>
                  </c15:layout>
                </c:ext>
                <c:ext xmlns:c16="http://schemas.microsoft.com/office/drawing/2014/chart" uri="{C3380CC4-5D6E-409C-BE32-E72D297353CC}">
                  <c16:uniqueId val="{00000001-64B4-4244-AF0E-0DB2D6D1A439}"/>
                </c:ext>
              </c:extLst>
            </c:dLbl>
            <c:dLbl>
              <c:idx val="1"/>
              <c:layout>
                <c:manualLayout>
                  <c:x val="0.15465354518027619"/>
                  <c:y val="7.2186048818851017E-2"/>
                </c:manualLayout>
              </c:layout>
              <c:tx>
                <c:rich>
                  <a:bodyPr rot="0" spcFirstLastPara="1" vertOverflow="ellipsis" vert="horz" wrap="square" lIns="38100" tIns="19050" rIns="38100" bIns="19050" anchor="ctr" anchorCtr="0">
                    <a:spAutoFit/>
                  </a:bodyPr>
                  <a:lstStyle/>
                  <a:p>
                    <a:pPr algn="l">
                      <a:defRPr sz="1400" b="0" i="0" u="none" strike="noStrike" kern="1200" baseline="0">
                        <a:solidFill>
                          <a:srgbClr val="000000"/>
                        </a:solidFill>
                        <a:latin typeface="+mn-lt"/>
                        <a:ea typeface="+mn-ea"/>
                        <a:cs typeface="+mn-cs"/>
                      </a:defRPr>
                    </a:pPr>
                    <a:fld id="{290C11AC-3218-4352-A893-B22BD72E0B84}" type="CATEGORYNAME">
                      <a:rPr lang="en-US"/>
                      <a:pPr algn="l">
                        <a:defRPr sz="1400">
                          <a:solidFill>
                            <a:srgbClr val="000000"/>
                          </a:solidFill>
                        </a:defRPr>
                      </a:pPr>
                      <a:t>[CATEGORY NAME]</a:t>
                    </a:fld>
                    <a:r>
                      <a:rPr lang="en-US"/>
                      <a:t>
</a:t>
                    </a:r>
                    <a:fld id="{8BAD56BA-16A2-4144-AEE4-E1A8B7BD5CC6}" type="VALUE">
                      <a:rPr lang="en-US"/>
                      <a:pPr algn="l">
                        <a:defRPr sz="1400">
                          <a:solidFill>
                            <a:srgbClr val="000000"/>
                          </a:solidFill>
                        </a:defRPr>
                      </a:pPr>
                      <a:t>[VALUE]</a:t>
                    </a:fld>
                    <a:endParaRPr lang="en-US"/>
                  </a:p>
                </c:rich>
              </c:tx>
              <c:spPr>
                <a:noFill/>
                <a:ln>
                  <a:noFill/>
                </a:ln>
                <a:effectLst/>
              </c:spPr>
              <c:txPr>
                <a:bodyPr rot="0" spcFirstLastPara="1" vertOverflow="ellipsis" vert="horz" wrap="square" lIns="38100" tIns="19050" rIns="38100" bIns="19050" anchor="ctr" anchorCtr="0">
                  <a:spAutoFit/>
                </a:bodyPr>
                <a:lstStyle/>
                <a:p>
                  <a:pPr algn="l">
                    <a:defRPr sz="1400" b="0" i="0" u="none" strike="noStrike" kern="1200" baseline="0">
                      <a:solidFill>
                        <a:srgbClr val="000000"/>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64B4-4244-AF0E-0DB2D6D1A439}"/>
                </c:ext>
              </c:extLst>
            </c:dLbl>
            <c:dLbl>
              <c:idx val="2"/>
              <c:layout>
                <c:manualLayout>
                  <c:x val="-8.8373454388729247E-2"/>
                  <c:y val="0.1673403858982461"/>
                </c:manualLayout>
              </c:layout>
              <c:tx>
                <c:rich>
                  <a:bodyPr rot="0" spcFirstLastPara="1" vertOverflow="ellipsis" vert="horz" wrap="square" lIns="38100" tIns="19050" rIns="38100" bIns="19050" anchor="ctr" anchorCtr="0">
                    <a:spAutoFit/>
                  </a:bodyPr>
                  <a:lstStyle/>
                  <a:p>
                    <a:pPr algn="r">
                      <a:defRPr sz="1400" b="0" i="0" u="none" strike="noStrike" kern="1200" baseline="0">
                        <a:solidFill>
                          <a:srgbClr val="000000"/>
                        </a:solidFill>
                        <a:latin typeface="+mn-lt"/>
                        <a:ea typeface="+mn-ea"/>
                        <a:cs typeface="+mn-cs"/>
                      </a:defRPr>
                    </a:pPr>
                    <a:fld id="{9B6175E0-A68F-4418-8C08-769A386E540D}" type="CATEGORYNAME">
                      <a:rPr lang="en-US"/>
                      <a:pPr algn="r">
                        <a:defRPr sz="1400">
                          <a:solidFill>
                            <a:srgbClr val="000000"/>
                          </a:solidFill>
                        </a:defRPr>
                      </a:pPr>
                      <a:t>[CATEGORY NAME]</a:t>
                    </a:fld>
                    <a:r>
                      <a:rPr lang="en-US"/>
                      <a:t>
</a:t>
                    </a:r>
                    <a:fld id="{19737BC8-E592-4471-AD9D-8620D98ED9D8}" type="VALUE">
                      <a:rPr lang="en-US"/>
                      <a:pPr algn="r">
                        <a:defRPr sz="1400">
                          <a:solidFill>
                            <a:srgbClr val="000000"/>
                          </a:solidFill>
                        </a:defRPr>
                      </a:pPr>
                      <a:t>[VALUE]</a:t>
                    </a:fld>
                    <a:endParaRPr lang="en-US"/>
                  </a:p>
                </c:rich>
              </c:tx>
              <c:spPr>
                <a:noFill/>
                <a:ln>
                  <a:noFill/>
                </a:ln>
                <a:effectLst/>
              </c:spPr>
              <c:txPr>
                <a:bodyPr rot="0" spcFirstLastPara="1" vertOverflow="ellipsis" vert="horz" wrap="square" lIns="38100" tIns="19050" rIns="38100" bIns="19050" anchor="ctr" anchorCtr="0">
                  <a:spAutoFit/>
                </a:bodyPr>
                <a:lstStyle/>
                <a:p>
                  <a:pPr algn="r">
                    <a:defRPr sz="1400" b="0" i="0" u="none" strike="noStrike" kern="1200" baseline="0">
                      <a:solidFill>
                        <a:srgbClr val="000000"/>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4B4-4244-AF0E-0DB2D6D1A439}"/>
                </c:ext>
              </c:extLst>
            </c:dLbl>
            <c:dLbl>
              <c:idx val="3"/>
              <c:layout>
                <c:manualLayout>
                  <c:x val="-0.26235869271653994"/>
                  <c:y val="-4.5936576521087166E-2"/>
                </c:manualLayout>
              </c:layout>
              <c:tx>
                <c:rich>
                  <a:bodyPr rot="0" spcFirstLastPara="1" vertOverflow="ellipsis" vert="horz" wrap="square" lIns="38100" tIns="19050" rIns="38100" bIns="19050" anchor="ctr" anchorCtr="0">
                    <a:spAutoFit/>
                  </a:bodyPr>
                  <a:lstStyle/>
                  <a:p>
                    <a:pPr algn="r">
                      <a:defRPr sz="1400" b="0" i="0" u="none" strike="noStrike" kern="1200" baseline="0">
                        <a:solidFill>
                          <a:schemeClr val="tx1"/>
                        </a:solidFill>
                        <a:latin typeface="+mn-lt"/>
                        <a:ea typeface="+mn-ea"/>
                        <a:cs typeface="+mn-cs"/>
                      </a:defRPr>
                    </a:pPr>
                    <a:fld id="{63152FFE-4C93-4654-BE22-7ABF199D349D}" type="CATEGORYNAME">
                      <a:rPr lang="en-US">
                        <a:solidFill>
                          <a:schemeClr val="tx1"/>
                        </a:solidFill>
                      </a:rPr>
                      <a:pPr algn="r">
                        <a:defRPr sz="1400"/>
                      </a:pPr>
                      <a:t>[CATEGORY NAME]</a:t>
                    </a:fld>
                    <a:r>
                      <a:rPr lang="en-US" baseline="0" dirty="0">
                        <a:solidFill>
                          <a:schemeClr val="tx1"/>
                        </a:solidFill>
                      </a:rPr>
                      <a:t>
</a:t>
                    </a:r>
                    <a:fld id="{18CF65AC-4F51-4D2D-8B95-1CE0E3177E23}" type="VALUE">
                      <a:rPr lang="en-US" baseline="0">
                        <a:solidFill>
                          <a:schemeClr val="tx1"/>
                        </a:solidFill>
                      </a:rPr>
                      <a:pPr algn="r">
                        <a:defRPr sz="1400"/>
                      </a:pPr>
                      <a:t>[VALUE]</a:t>
                    </a:fld>
                    <a:endParaRPr lang="en-US" baseline="0" dirty="0">
                      <a:solidFill>
                        <a:schemeClr val="tx1"/>
                      </a:solidFill>
                    </a:endParaRPr>
                  </a:p>
                </c:rich>
              </c:tx>
              <c:spPr>
                <a:noFill/>
                <a:ln>
                  <a:noFill/>
                </a:ln>
                <a:effectLst/>
              </c:spPr>
              <c:txPr>
                <a:bodyPr rot="0" spcFirstLastPara="1" vertOverflow="ellipsis" vert="horz" wrap="square" lIns="38100" tIns="19050" rIns="38100" bIns="19050" anchor="ctr" anchorCtr="0">
                  <a:spAutoFit/>
                </a:bodyPr>
                <a:lstStyle/>
                <a:p>
                  <a:pPr algn="r">
                    <a:defRPr sz="14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64B4-4244-AF0E-0DB2D6D1A43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2.8</c:v>
                </c:pt>
                <c:pt idx="1">
                  <c:v>2.5</c:v>
                </c:pt>
                <c:pt idx="2">
                  <c:v>3.5</c:v>
                </c:pt>
                <c:pt idx="3">
                  <c:v>4.5</c:v>
                </c:pt>
              </c:numCache>
            </c:numRef>
          </c:val>
          <c:extLst>
            <c:ext xmlns:c16="http://schemas.microsoft.com/office/drawing/2014/chart" uri="{C3380CC4-5D6E-409C-BE32-E72D297353CC}">
              <c16:uniqueId val="{00000008-64B4-4244-AF0E-0DB2D6D1A439}"/>
            </c:ext>
          </c:extLst>
        </c:ser>
        <c:dLbls>
          <c:showLegendKey val="0"/>
          <c:showVal val="0"/>
          <c:showCatName val="0"/>
          <c:showSerName val="0"/>
          <c:showPercent val="0"/>
          <c:showBubbleSize val="0"/>
          <c:showLeaderLines val="0"/>
        </c:dLbls>
        <c:firstSliceAng val="55"/>
        <c:holeSize val="75"/>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9572641482645365E-3"/>
          <c:y val="1.7143796912417533E-2"/>
          <c:w val="0.97106976876260076"/>
          <c:h val="0.97106976876260076"/>
        </c:manualLayout>
      </c:layout>
      <c:doughnutChart>
        <c:varyColors val="1"/>
        <c:ser>
          <c:idx val="0"/>
          <c:order val="0"/>
          <c:tx>
            <c:strRef>
              <c:f>Tabelle1!$B$1</c:f>
              <c:strCache>
                <c:ptCount val="1"/>
                <c:pt idx="0">
                  <c:v>Verkauf</c:v>
                </c:pt>
              </c:strCache>
            </c:strRef>
          </c:tx>
          <c:spPr>
            <a:ln w="19050">
              <a:solidFill>
                <a:schemeClr val="bg1"/>
              </a:solidFill>
            </a:ln>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B08D-41C5-A54E-BD52F6AEBF53}"/>
              </c:ext>
            </c:extLst>
          </c:dPt>
          <c:dPt>
            <c:idx val="1"/>
            <c:bubble3D val="0"/>
            <c:spPr>
              <a:solidFill>
                <a:schemeClr val="accent2">
                  <a:tint val="77000"/>
                </a:schemeClr>
              </a:solidFill>
              <a:ln w="19050">
                <a:solidFill>
                  <a:schemeClr val="bg1"/>
                </a:solidFill>
              </a:ln>
              <a:effectLst/>
            </c:spPr>
            <c:extLst>
              <c:ext xmlns:c16="http://schemas.microsoft.com/office/drawing/2014/chart" uri="{C3380CC4-5D6E-409C-BE32-E72D297353CC}">
                <c16:uniqueId val="{00000003-B08D-41C5-A54E-BD52F6AEBF53}"/>
              </c:ext>
            </c:extLst>
          </c:dPt>
          <c:cat>
            <c:strRef>
              <c:f>Tabelle1!$A$2:$A$3</c:f>
              <c:strCache>
                <c:ptCount val="2"/>
                <c:pt idx="0">
                  <c:v>1. Quartal</c:v>
                </c:pt>
                <c:pt idx="1">
                  <c:v>2. Quartal</c:v>
                </c:pt>
              </c:strCache>
            </c:strRef>
          </c:cat>
          <c:val>
            <c:numRef>
              <c:f>Tabelle1!$B$2:$B$3</c:f>
              <c:numCache>
                <c:formatCode>General</c:formatCode>
                <c:ptCount val="2"/>
                <c:pt idx="0">
                  <c:v>68</c:v>
                </c:pt>
                <c:pt idx="1">
                  <c:v>32</c:v>
                </c:pt>
              </c:numCache>
            </c:numRef>
          </c:val>
          <c:extLst>
            <c:ext xmlns:c16="http://schemas.microsoft.com/office/drawing/2014/chart" uri="{C3380CC4-5D6E-409C-BE32-E72D297353CC}">
              <c16:uniqueId val="{00000004-B08D-41C5-A54E-BD52F6AEBF5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9572641482645365E-3"/>
          <c:y val="1.7143796912417533E-2"/>
          <c:w val="0.97106976876260076"/>
          <c:h val="0.97106976876260076"/>
        </c:manualLayout>
      </c:layout>
      <c:doughnutChart>
        <c:varyColors val="1"/>
        <c:ser>
          <c:idx val="0"/>
          <c:order val="0"/>
          <c:tx>
            <c:strRef>
              <c:f>Tabelle1!$B$1</c:f>
              <c:strCache>
                <c:ptCount val="1"/>
                <c:pt idx="0">
                  <c:v>Verkauf</c:v>
                </c:pt>
              </c:strCache>
            </c:strRef>
          </c:tx>
          <c:spPr>
            <a:ln w="19050">
              <a:solidFill>
                <a:schemeClr val="bg1"/>
              </a:solidFill>
            </a:ln>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D9AC-4875-8170-92183F872750}"/>
              </c:ext>
            </c:extLst>
          </c:dPt>
          <c:dPt>
            <c:idx val="1"/>
            <c:bubble3D val="0"/>
            <c:spPr>
              <a:solidFill>
                <a:schemeClr val="accent2">
                  <a:tint val="77000"/>
                </a:schemeClr>
              </a:solidFill>
              <a:ln w="19050">
                <a:solidFill>
                  <a:schemeClr val="bg1"/>
                </a:solidFill>
              </a:ln>
              <a:effectLst/>
            </c:spPr>
            <c:extLst>
              <c:ext xmlns:c16="http://schemas.microsoft.com/office/drawing/2014/chart" uri="{C3380CC4-5D6E-409C-BE32-E72D297353CC}">
                <c16:uniqueId val="{00000003-D9AC-4875-8170-92183F872750}"/>
              </c:ext>
            </c:extLst>
          </c:dPt>
          <c:cat>
            <c:strRef>
              <c:f>Tabelle1!$A$2:$A$3</c:f>
              <c:strCache>
                <c:ptCount val="2"/>
                <c:pt idx="0">
                  <c:v>1. Quartal</c:v>
                </c:pt>
                <c:pt idx="1">
                  <c:v>2. Quartal</c:v>
                </c:pt>
              </c:strCache>
            </c:strRef>
          </c:cat>
          <c:val>
            <c:numRef>
              <c:f>Tabelle1!$B$2:$B$3</c:f>
              <c:numCache>
                <c:formatCode>General</c:formatCode>
                <c:ptCount val="2"/>
                <c:pt idx="0">
                  <c:v>57</c:v>
                </c:pt>
                <c:pt idx="1">
                  <c:v>53</c:v>
                </c:pt>
              </c:numCache>
            </c:numRef>
          </c:val>
          <c:extLst>
            <c:ext xmlns:c16="http://schemas.microsoft.com/office/drawing/2014/chart" uri="{C3380CC4-5D6E-409C-BE32-E72D297353CC}">
              <c16:uniqueId val="{00000004-D9AC-4875-8170-92183F87275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9572641482645365E-3"/>
          <c:y val="1.7143796912417533E-2"/>
          <c:w val="0.97106976876260076"/>
          <c:h val="0.97106976876260076"/>
        </c:manualLayout>
      </c:layout>
      <c:doughnutChart>
        <c:varyColors val="1"/>
        <c:ser>
          <c:idx val="0"/>
          <c:order val="0"/>
          <c:tx>
            <c:strRef>
              <c:f>Tabelle1!$B$1</c:f>
              <c:strCache>
                <c:ptCount val="1"/>
                <c:pt idx="0">
                  <c:v>Verkauf</c:v>
                </c:pt>
              </c:strCache>
            </c:strRef>
          </c:tx>
          <c:spPr>
            <a:ln w="19050">
              <a:solidFill>
                <a:schemeClr val="bg1"/>
              </a:solidFill>
            </a:ln>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70E2-48CA-952D-20945C964B8E}"/>
              </c:ext>
            </c:extLst>
          </c:dPt>
          <c:dPt>
            <c:idx val="1"/>
            <c:bubble3D val="0"/>
            <c:spPr>
              <a:solidFill>
                <a:schemeClr val="accent2">
                  <a:tint val="77000"/>
                </a:schemeClr>
              </a:solidFill>
              <a:ln w="19050">
                <a:solidFill>
                  <a:schemeClr val="bg1"/>
                </a:solidFill>
              </a:ln>
              <a:effectLst/>
            </c:spPr>
            <c:extLst>
              <c:ext xmlns:c16="http://schemas.microsoft.com/office/drawing/2014/chart" uri="{C3380CC4-5D6E-409C-BE32-E72D297353CC}">
                <c16:uniqueId val="{00000003-70E2-48CA-952D-20945C964B8E}"/>
              </c:ext>
            </c:extLst>
          </c:dPt>
          <c:cat>
            <c:strRef>
              <c:f>Tabelle1!$A$2:$A$3</c:f>
              <c:strCache>
                <c:ptCount val="2"/>
                <c:pt idx="0">
                  <c:v>1. Quartal</c:v>
                </c:pt>
                <c:pt idx="1">
                  <c:v>2. Quartal</c:v>
                </c:pt>
              </c:strCache>
            </c:strRef>
          </c:cat>
          <c:val>
            <c:numRef>
              <c:f>Tabelle1!$B$2:$B$3</c:f>
              <c:numCache>
                <c:formatCode>General</c:formatCode>
                <c:ptCount val="2"/>
                <c:pt idx="0">
                  <c:v>24</c:v>
                </c:pt>
                <c:pt idx="1">
                  <c:v>76</c:v>
                </c:pt>
              </c:numCache>
            </c:numRef>
          </c:val>
          <c:extLst>
            <c:ext xmlns:c16="http://schemas.microsoft.com/office/drawing/2014/chart" uri="{C3380CC4-5D6E-409C-BE32-E72D297353CC}">
              <c16:uniqueId val="{00000004-70E2-48CA-952D-20945C964B8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5.4567237705755996E-4"/>
          <c:y val="5.6384888093745519E-2"/>
          <c:w val="0.92355276994880209"/>
          <c:h val="0.87239209536678641"/>
        </c:manualLayout>
      </c:layout>
      <c:areaChart>
        <c:grouping val="stacked"/>
        <c:varyColors val="0"/>
        <c:ser>
          <c:idx val="0"/>
          <c:order val="0"/>
          <c:tx>
            <c:strRef>
              <c:f>Sheet1!$B$1</c:f>
              <c:strCache>
                <c:ptCount val="1"/>
                <c:pt idx="0">
                  <c:v>Series 1</c:v>
                </c:pt>
              </c:strCache>
            </c:strRef>
          </c:tx>
          <c:spPr>
            <a:solidFill>
              <a:schemeClr val="tx2"/>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B$2:$B$11</c:f>
              <c:numCache>
                <c:formatCode>General</c:formatCode>
                <c:ptCount val="10"/>
                <c:pt idx="0">
                  <c:v>10</c:v>
                </c:pt>
                <c:pt idx="1">
                  <c:v>15</c:v>
                </c:pt>
                <c:pt idx="2">
                  <c:v>12</c:v>
                </c:pt>
                <c:pt idx="3">
                  <c:v>18</c:v>
                </c:pt>
                <c:pt idx="4">
                  <c:v>15</c:v>
                </c:pt>
                <c:pt idx="5">
                  <c:v>18</c:v>
                </c:pt>
                <c:pt idx="6">
                  <c:v>19</c:v>
                </c:pt>
                <c:pt idx="7">
                  <c:v>20</c:v>
                </c:pt>
                <c:pt idx="8">
                  <c:v>28</c:v>
                </c:pt>
                <c:pt idx="9">
                  <c:v>32</c:v>
                </c:pt>
              </c:numCache>
            </c:numRef>
          </c:val>
          <c:extLst>
            <c:ext xmlns:c16="http://schemas.microsoft.com/office/drawing/2014/chart" uri="{C3380CC4-5D6E-409C-BE32-E72D297353CC}">
              <c16:uniqueId val="{00000000-3CFB-44D2-BF05-D43B4FBE4C9F}"/>
            </c:ext>
          </c:extLst>
        </c:ser>
        <c:ser>
          <c:idx val="1"/>
          <c:order val="1"/>
          <c:tx>
            <c:strRef>
              <c:f>Sheet1!$C$1</c:f>
              <c:strCache>
                <c:ptCount val="1"/>
                <c:pt idx="0">
                  <c:v>Series 2</c:v>
                </c:pt>
              </c:strCache>
            </c:strRef>
          </c:tx>
          <c:spPr>
            <a:solidFill>
              <a:schemeClr val="accent1"/>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C$2:$C$11</c:f>
              <c:numCache>
                <c:formatCode>General</c:formatCode>
                <c:ptCount val="10"/>
                <c:pt idx="0">
                  <c:v>12</c:v>
                </c:pt>
                <c:pt idx="1">
                  <c:v>28</c:v>
                </c:pt>
                <c:pt idx="2">
                  <c:v>28</c:v>
                </c:pt>
                <c:pt idx="3">
                  <c:v>19</c:v>
                </c:pt>
                <c:pt idx="4">
                  <c:v>28</c:v>
                </c:pt>
                <c:pt idx="5">
                  <c:v>28</c:v>
                </c:pt>
                <c:pt idx="6">
                  <c:v>28</c:v>
                </c:pt>
                <c:pt idx="7">
                  <c:v>28</c:v>
                </c:pt>
                <c:pt idx="8">
                  <c:v>19</c:v>
                </c:pt>
                <c:pt idx="9">
                  <c:v>23</c:v>
                </c:pt>
              </c:numCache>
            </c:numRef>
          </c:val>
          <c:extLst>
            <c:ext xmlns:c16="http://schemas.microsoft.com/office/drawing/2014/chart" uri="{C3380CC4-5D6E-409C-BE32-E72D297353CC}">
              <c16:uniqueId val="{00000001-3CFB-44D2-BF05-D43B4FBE4C9F}"/>
            </c:ext>
          </c:extLst>
        </c:ser>
        <c:ser>
          <c:idx val="2"/>
          <c:order val="2"/>
          <c:tx>
            <c:strRef>
              <c:f>Sheet1!$D$1</c:f>
              <c:strCache>
                <c:ptCount val="1"/>
                <c:pt idx="0">
                  <c:v>Series 3</c:v>
                </c:pt>
              </c:strCache>
            </c:strRef>
          </c:tx>
          <c:spPr>
            <a:solidFill>
              <a:schemeClr val="accent2"/>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D$2:$D$11</c:f>
              <c:numCache>
                <c:formatCode>General</c:formatCode>
                <c:ptCount val="10"/>
                <c:pt idx="0">
                  <c:v>10</c:v>
                </c:pt>
                <c:pt idx="1">
                  <c:v>15</c:v>
                </c:pt>
                <c:pt idx="2">
                  <c:v>12</c:v>
                </c:pt>
                <c:pt idx="3">
                  <c:v>18</c:v>
                </c:pt>
                <c:pt idx="4">
                  <c:v>15</c:v>
                </c:pt>
                <c:pt idx="5">
                  <c:v>18</c:v>
                </c:pt>
                <c:pt idx="6">
                  <c:v>19</c:v>
                </c:pt>
                <c:pt idx="7">
                  <c:v>20</c:v>
                </c:pt>
                <c:pt idx="8">
                  <c:v>28</c:v>
                </c:pt>
                <c:pt idx="9">
                  <c:v>32</c:v>
                </c:pt>
              </c:numCache>
            </c:numRef>
          </c:val>
          <c:extLst>
            <c:ext xmlns:c16="http://schemas.microsoft.com/office/drawing/2014/chart" uri="{C3380CC4-5D6E-409C-BE32-E72D297353CC}">
              <c16:uniqueId val="{00000001-9549-4F3B-907A-16DF92284814}"/>
            </c:ext>
          </c:extLst>
        </c:ser>
        <c:ser>
          <c:idx val="3"/>
          <c:order val="3"/>
          <c:tx>
            <c:strRef>
              <c:f>Sheet1!$E$1</c:f>
              <c:strCache>
                <c:ptCount val="1"/>
                <c:pt idx="0">
                  <c:v>Series 4</c:v>
                </c:pt>
              </c:strCache>
            </c:strRef>
          </c:tx>
          <c:spPr>
            <a:solidFill>
              <a:schemeClr val="accent3"/>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E$2:$E$11</c:f>
              <c:numCache>
                <c:formatCode>General</c:formatCode>
                <c:ptCount val="10"/>
                <c:pt idx="0">
                  <c:v>12</c:v>
                </c:pt>
                <c:pt idx="1">
                  <c:v>28</c:v>
                </c:pt>
                <c:pt idx="2">
                  <c:v>28</c:v>
                </c:pt>
                <c:pt idx="3">
                  <c:v>19</c:v>
                </c:pt>
                <c:pt idx="4">
                  <c:v>28</c:v>
                </c:pt>
                <c:pt idx="5">
                  <c:v>28</c:v>
                </c:pt>
                <c:pt idx="6">
                  <c:v>28</c:v>
                </c:pt>
                <c:pt idx="7">
                  <c:v>28</c:v>
                </c:pt>
                <c:pt idx="8">
                  <c:v>19</c:v>
                </c:pt>
                <c:pt idx="9">
                  <c:v>23</c:v>
                </c:pt>
              </c:numCache>
            </c:numRef>
          </c:val>
          <c:extLst>
            <c:ext xmlns:c16="http://schemas.microsoft.com/office/drawing/2014/chart" uri="{C3380CC4-5D6E-409C-BE32-E72D297353CC}">
              <c16:uniqueId val="{00000002-9549-4F3B-907A-16DF92284814}"/>
            </c:ext>
          </c:extLst>
        </c:ser>
        <c:ser>
          <c:idx val="4"/>
          <c:order val="4"/>
          <c:tx>
            <c:strRef>
              <c:f>Sheet1!$F$1</c:f>
              <c:strCache>
                <c:ptCount val="1"/>
                <c:pt idx="0">
                  <c:v>Series 5</c:v>
                </c:pt>
              </c:strCache>
            </c:strRef>
          </c:tx>
          <c:spPr>
            <a:solidFill>
              <a:schemeClr val="accent4"/>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F$2:$F$11</c:f>
              <c:numCache>
                <c:formatCode>General</c:formatCode>
                <c:ptCount val="10"/>
                <c:pt idx="0">
                  <c:v>10</c:v>
                </c:pt>
                <c:pt idx="1">
                  <c:v>15</c:v>
                </c:pt>
                <c:pt idx="2">
                  <c:v>12</c:v>
                </c:pt>
                <c:pt idx="3">
                  <c:v>18</c:v>
                </c:pt>
                <c:pt idx="4">
                  <c:v>15</c:v>
                </c:pt>
                <c:pt idx="5">
                  <c:v>18</c:v>
                </c:pt>
                <c:pt idx="6">
                  <c:v>19</c:v>
                </c:pt>
                <c:pt idx="7">
                  <c:v>20</c:v>
                </c:pt>
                <c:pt idx="8">
                  <c:v>28</c:v>
                </c:pt>
                <c:pt idx="9">
                  <c:v>32</c:v>
                </c:pt>
              </c:numCache>
            </c:numRef>
          </c:val>
          <c:extLst>
            <c:ext xmlns:c16="http://schemas.microsoft.com/office/drawing/2014/chart" uri="{C3380CC4-5D6E-409C-BE32-E72D297353CC}">
              <c16:uniqueId val="{00000003-9549-4F3B-907A-16DF92284814}"/>
            </c:ext>
          </c:extLst>
        </c:ser>
        <c:ser>
          <c:idx val="5"/>
          <c:order val="5"/>
          <c:tx>
            <c:strRef>
              <c:f>Sheet1!$G$1</c:f>
              <c:strCache>
                <c:ptCount val="1"/>
                <c:pt idx="0">
                  <c:v>Series 6</c:v>
                </c:pt>
              </c:strCache>
            </c:strRef>
          </c:tx>
          <c:spPr>
            <a:solidFill>
              <a:schemeClr val="accent5"/>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G$2:$G$11</c:f>
              <c:numCache>
                <c:formatCode>General</c:formatCode>
                <c:ptCount val="10"/>
                <c:pt idx="0">
                  <c:v>12</c:v>
                </c:pt>
                <c:pt idx="1">
                  <c:v>28</c:v>
                </c:pt>
                <c:pt idx="2">
                  <c:v>28</c:v>
                </c:pt>
                <c:pt idx="3">
                  <c:v>19</c:v>
                </c:pt>
                <c:pt idx="4">
                  <c:v>28</c:v>
                </c:pt>
                <c:pt idx="5">
                  <c:v>28</c:v>
                </c:pt>
                <c:pt idx="6">
                  <c:v>28</c:v>
                </c:pt>
                <c:pt idx="7">
                  <c:v>28</c:v>
                </c:pt>
                <c:pt idx="8">
                  <c:v>19</c:v>
                </c:pt>
                <c:pt idx="9">
                  <c:v>23</c:v>
                </c:pt>
              </c:numCache>
            </c:numRef>
          </c:val>
          <c:extLst>
            <c:ext xmlns:c16="http://schemas.microsoft.com/office/drawing/2014/chart" uri="{C3380CC4-5D6E-409C-BE32-E72D297353CC}">
              <c16:uniqueId val="{00000004-9549-4F3B-907A-16DF92284814}"/>
            </c:ext>
          </c:extLst>
        </c:ser>
        <c:dLbls>
          <c:showLegendKey val="0"/>
          <c:showVal val="0"/>
          <c:showCatName val="0"/>
          <c:showSerName val="0"/>
          <c:showPercent val="0"/>
          <c:showBubbleSize val="0"/>
        </c:dLbls>
        <c:axId val="737779520"/>
        <c:axId val="737774032"/>
      </c:areaChart>
      <c:catAx>
        <c:axId val="737779520"/>
        <c:scaling>
          <c:orientation val="minMax"/>
        </c:scaling>
        <c:delete val="0"/>
        <c:axPos val="b"/>
        <c:numFmt formatCode="0" sourceLinked="1"/>
        <c:majorTickMark val="none"/>
        <c:minorTickMark val="none"/>
        <c:tickLblPos val="nextTo"/>
        <c:spPr>
          <a:noFill/>
          <a:ln w="19050" cap="flat" cmpd="sng" algn="ctr">
            <a:solidFill>
              <a:schemeClr val="tx2"/>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crossAx val="737774032"/>
        <c:crosses val="autoZero"/>
        <c:auto val="1"/>
        <c:lblAlgn val="ctr"/>
        <c:lblOffset val="100"/>
        <c:noMultiLvlLbl val="0"/>
      </c:catAx>
      <c:valAx>
        <c:axId val="737774032"/>
        <c:scaling>
          <c:orientation val="minMax"/>
        </c:scaling>
        <c:delete val="1"/>
        <c:axPos val="l"/>
        <c:majorGridlines>
          <c:spPr>
            <a:ln w="9525" cap="flat" cmpd="tri" algn="ctr">
              <a:solidFill>
                <a:srgbClr val="D9D9D9">
                  <a:alpha val="24706"/>
                </a:srgbClr>
              </a:solidFill>
              <a:prstDash val="solid"/>
              <a:round/>
            </a:ln>
            <a:effectLst/>
          </c:spPr>
        </c:majorGridlines>
        <c:title>
          <c:layout>
            <c:manualLayout>
              <c:xMode val="edge"/>
              <c:yMode val="edge"/>
              <c:x val="0"/>
              <c:y val="1.3984166006899171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j-lt"/>
                  <a:ea typeface="+mn-ea"/>
                  <a:cs typeface="+mn-cs"/>
                </a:defRPr>
              </a:pPr>
              <a:endParaRPr lang="en-US"/>
            </a:p>
          </c:txPr>
        </c:title>
        <c:numFmt formatCode="General" sourceLinked="1"/>
        <c:majorTickMark val="out"/>
        <c:minorTickMark val="none"/>
        <c:tickLblPos val="nextTo"/>
        <c:crossAx val="737779520"/>
        <c:crosses val="autoZero"/>
        <c:crossBetween val="between"/>
      </c:valAx>
      <c:spPr>
        <a:noFill/>
        <a:ln w="3175">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400" b="0">
          <a:solidFill>
            <a:schemeClr val="tx1"/>
          </a:solidFill>
          <a:latin typeface="+mj-lt"/>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5.4567237705755996E-4"/>
          <c:y val="5.6384888093745519E-2"/>
          <c:w val="0.92355276994880209"/>
          <c:h val="0.87239209536678641"/>
        </c:manualLayout>
      </c:layout>
      <c:areaChart>
        <c:grouping val="stacked"/>
        <c:varyColors val="0"/>
        <c:ser>
          <c:idx val="0"/>
          <c:order val="0"/>
          <c:tx>
            <c:strRef>
              <c:f>Sheet1!$B$1</c:f>
              <c:strCache>
                <c:ptCount val="1"/>
                <c:pt idx="0">
                  <c:v>Series 1</c:v>
                </c:pt>
              </c:strCache>
            </c:strRef>
          </c:tx>
          <c:spPr>
            <a:solidFill>
              <a:schemeClr val="tx2"/>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B$2:$B$11</c:f>
              <c:numCache>
                <c:formatCode>General</c:formatCode>
                <c:ptCount val="10"/>
                <c:pt idx="0">
                  <c:v>10</c:v>
                </c:pt>
                <c:pt idx="1">
                  <c:v>15</c:v>
                </c:pt>
                <c:pt idx="2">
                  <c:v>12</c:v>
                </c:pt>
                <c:pt idx="3">
                  <c:v>18</c:v>
                </c:pt>
                <c:pt idx="4">
                  <c:v>15</c:v>
                </c:pt>
                <c:pt idx="5">
                  <c:v>18</c:v>
                </c:pt>
                <c:pt idx="6">
                  <c:v>19</c:v>
                </c:pt>
                <c:pt idx="7">
                  <c:v>20</c:v>
                </c:pt>
                <c:pt idx="8">
                  <c:v>28</c:v>
                </c:pt>
                <c:pt idx="9">
                  <c:v>32</c:v>
                </c:pt>
              </c:numCache>
            </c:numRef>
          </c:val>
          <c:extLst>
            <c:ext xmlns:c16="http://schemas.microsoft.com/office/drawing/2014/chart" uri="{C3380CC4-5D6E-409C-BE32-E72D297353CC}">
              <c16:uniqueId val="{00000000-3CFB-44D2-BF05-D43B4FBE4C9F}"/>
            </c:ext>
          </c:extLst>
        </c:ser>
        <c:ser>
          <c:idx val="1"/>
          <c:order val="1"/>
          <c:tx>
            <c:strRef>
              <c:f>Sheet1!$C$1</c:f>
              <c:strCache>
                <c:ptCount val="1"/>
                <c:pt idx="0">
                  <c:v>Series 2</c:v>
                </c:pt>
              </c:strCache>
            </c:strRef>
          </c:tx>
          <c:spPr>
            <a:solidFill>
              <a:schemeClr val="accent1"/>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C$2:$C$11</c:f>
              <c:numCache>
                <c:formatCode>General</c:formatCode>
                <c:ptCount val="10"/>
                <c:pt idx="0">
                  <c:v>12</c:v>
                </c:pt>
                <c:pt idx="1">
                  <c:v>28</c:v>
                </c:pt>
                <c:pt idx="2">
                  <c:v>28</c:v>
                </c:pt>
                <c:pt idx="3">
                  <c:v>19</c:v>
                </c:pt>
                <c:pt idx="4">
                  <c:v>28</c:v>
                </c:pt>
                <c:pt idx="5">
                  <c:v>28</c:v>
                </c:pt>
                <c:pt idx="6">
                  <c:v>28</c:v>
                </c:pt>
                <c:pt idx="7">
                  <c:v>28</c:v>
                </c:pt>
                <c:pt idx="8">
                  <c:v>19</c:v>
                </c:pt>
                <c:pt idx="9">
                  <c:v>23</c:v>
                </c:pt>
              </c:numCache>
            </c:numRef>
          </c:val>
          <c:extLst>
            <c:ext xmlns:c16="http://schemas.microsoft.com/office/drawing/2014/chart" uri="{C3380CC4-5D6E-409C-BE32-E72D297353CC}">
              <c16:uniqueId val="{00000001-3CFB-44D2-BF05-D43B4FBE4C9F}"/>
            </c:ext>
          </c:extLst>
        </c:ser>
        <c:ser>
          <c:idx val="2"/>
          <c:order val="2"/>
          <c:tx>
            <c:strRef>
              <c:f>Sheet1!$D$1</c:f>
              <c:strCache>
                <c:ptCount val="1"/>
                <c:pt idx="0">
                  <c:v>Series 3</c:v>
                </c:pt>
              </c:strCache>
            </c:strRef>
          </c:tx>
          <c:spPr>
            <a:solidFill>
              <a:schemeClr val="accent2"/>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D$2:$D$11</c:f>
              <c:numCache>
                <c:formatCode>General</c:formatCode>
                <c:ptCount val="10"/>
                <c:pt idx="0">
                  <c:v>10</c:v>
                </c:pt>
                <c:pt idx="1">
                  <c:v>15</c:v>
                </c:pt>
                <c:pt idx="2">
                  <c:v>12</c:v>
                </c:pt>
                <c:pt idx="3">
                  <c:v>18</c:v>
                </c:pt>
                <c:pt idx="4">
                  <c:v>15</c:v>
                </c:pt>
                <c:pt idx="5">
                  <c:v>18</c:v>
                </c:pt>
                <c:pt idx="6">
                  <c:v>19</c:v>
                </c:pt>
                <c:pt idx="7">
                  <c:v>20</c:v>
                </c:pt>
                <c:pt idx="8">
                  <c:v>28</c:v>
                </c:pt>
                <c:pt idx="9">
                  <c:v>32</c:v>
                </c:pt>
              </c:numCache>
            </c:numRef>
          </c:val>
          <c:extLst>
            <c:ext xmlns:c16="http://schemas.microsoft.com/office/drawing/2014/chart" uri="{C3380CC4-5D6E-409C-BE32-E72D297353CC}">
              <c16:uniqueId val="{00000001-9549-4F3B-907A-16DF92284814}"/>
            </c:ext>
          </c:extLst>
        </c:ser>
        <c:ser>
          <c:idx val="3"/>
          <c:order val="3"/>
          <c:tx>
            <c:strRef>
              <c:f>Sheet1!$E$1</c:f>
              <c:strCache>
                <c:ptCount val="1"/>
                <c:pt idx="0">
                  <c:v>Series 4</c:v>
                </c:pt>
              </c:strCache>
            </c:strRef>
          </c:tx>
          <c:spPr>
            <a:solidFill>
              <a:schemeClr val="accent3"/>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E$2:$E$11</c:f>
              <c:numCache>
                <c:formatCode>General</c:formatCode>
                <c:ptCount val="10"/>
                <c:pt idx="0">
                  <c:v>12</c:v>
                </c:pt>
                <c:pt idx="1">
                  <c:v>28</c:v>
                </c:pt>
                <c:pt idx="2">
                  <c:v>28</c:v>
                </c:pt>
                <c:pt idx="3">
                  <c:v>19</c:v>
                </c:pt>
                <c:pt idx="4">
                  <c:v>28</c:v>
                </c:pt>
                <c:pt idx="5">
                  <c:v>28</c:v>
                </c:pt>
                <c:pt idx="6">
                  <c:v>28</c:v>
                </c:pt>
                <c:pt idx="7">
                  <c:v>28</c:v>
                </c:pt>
                <c:pt idx="8">
                  <c:v>19</c:v>
                </c:pt>
                <c:pt idx="9">
                  <c:v>23</c:v>
                </c:pt>
              </c:numCache>
            </c:numRef>
          </c:val>
          <c:extLst>
            <c:ext xmlns:c16="http://schemas.microsoft.com/office/drawing/2014/chart" uri="{C3380CC4-5D6E-409C-BE32-E72D297353CC}">
              <c16:uniqueId val="{00000002-9549-4F3B-907A-16DF92284814}"/>
            </c:ext>
          </c:extLst>
        </c:ser>
        <c:ser>
          <c:idx val="4"/>
          <c:order val="4"/>
          <c:tx>
            <c:strRef>
              <c:f>Sheet1!$F$1</c:f>
              <c:strCache>
                <c:ptCount val="1"/>
                <c:pt idx="0">
                  <c:v>Series 5</c:v>
                </c:pt>
              </c:strCache>
            </c:strRef>
          </c:tx>
          <c:spPr>
            <a:solidFill>
              <a:schemeClr val="accent4"/>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F$2:$F$11</c:f>
              <c:numCache>
                <c:formatCode>General</c:formatCode>
                <c:ptCount val="10"/>
                <c:pt idx="0">
                  <c:v>10</c:v>
                </c:pt>
                <c:pt idx="1">
                  <c:v>15</c:v>
                </c:pt>
                <c:pt idx="2">
                  <c:v>12</c:v>
                </c:pt>
                <c:pt idx="3">
                  <c:v>18</c:v>
                </c:pt>
                <c:pt idx="4">
                  <c:v>15</c:v>
                </c:pt>
                <c:pt idx="5">
                  <c:v>18</c:v>
                </c:pt>
                <c:pt idx="6">
                  <c:v>19</c:v>
                </c:pt>
                <c:pt idx="7">
                  <c:v>20</c:v>
                </c:pt>
                <c:pt idx="8">
                  <c:v>28</c:v>
                </c:pt>
                <c:pt idx="9">
                  <c:v>32</c:v>
                </c:pt>
              </c:numCache>
            </c:numRef>
          </c:val>
          <c:extLst>
            <c:ext xmlns:c16="http://schemas.microsoft.com/office/drawing/2014/chart" uri="{C3380CC4-5D6E-409C-BE32-E72D297353CC}">
              <c16:uniqueId val="{00000003-9549-4F3B-907A-16DF92284814}"/>
            </c:ext>
          </c:extLst>
        </c:ser>
        <c:ser>
          <c:idx val="5"/>
          <c:order val="5"/>
          <c:tx>
            <c:strRef>
              <c:f>Sheet1!$G$1</c:f>
              <c:strCache>
                <c:ptCount val="1"/>
                <c:pt idx="0">
                  <c:v>Series 6</c:v>
                </c:pt>
              </c:strCache>
            </c:strRef>
          </c:tx>
          <c:spPr>
            <a:solidFill>
              <a:schemeClr val="accent5"/>
            </a:solidFill>
            <a:ln w="19050">
              <a:solidFill>
                <a:schemeClr val="bg1"/>
              </a:solidFill>
            </a:ln>
            <a:effectLst/>
          </c:spPr>
          <c:cat>
            <c:numRef>
              <c:f>Sheet1!$A$2:$A$11</c:f>
              <c:numCache>
                <c:formatCode>0</c:formatCode>
                <c:ptCount val="10"/>
                <c:pt idx="0">
                  <c:v>1</c:v>
                </c:pt>
                <c:pt idx="1">
                  <c:v>2</c:v>
                </c:pt>
                <c:pt idx="2">
                  <c:v>3</c:v>
                </c:pt>
                <c:pt idx="3">
                  <c:v>4</c:v>
                </c:pt>
                <c:pt idx="4">
                  <c:v>5</c:v>
                </c:pt>
                <c:pt idx="5">
                  <c:v>6</c:v>
                </c:pt>
                <c:pt idx="6">
                  <c:v>7</c:v>
                </c:pt>
                <c:pt idx="7">
                  <c:v>8</c:v>
                </c:pt>
                <c:pt idx="8">
                  <c:v>9</c:v>
                </c:pt>
                <c:pt idx="9">
                  <c:v>10</c:v>
                </c:pt>
              </c:numCache>
            </c:numRef>
          </c:cat>
          <c:val>
            <c:numRef>
              <c:f>Sheet1!$G$2:$G$11</c:f>
              <c:numCache>
                <c:formatCode>General</c:formatCode>
                <c:ptCount val="10"/>
                <c:pt idx="0">
                  <c:v>12</c:v>
                </c:pt>
                <c:pt idx="1">
                  <c:v>28</c:v>
                </c:pt>
                <c:pt idx="2">
                  <c:v>28</c:v>
                </c:pt>
                <c:pt idx="3">
                  <c:v>19</c:v>
                </c:pt>
                <c:pt idx="4">
                  <c:v>28</c:v>
                </c:pt>
                <c:pt idx="5">
                  <c:v>28</c:v>
                </c:pt>
                <c:pt idx="6">
                  <c:v>28</c:v>
                </c:pt>
                <c:pt idx="7">
                  <c:v>28</c:v>
                </c:pt>
                <c:pt idx="8">
                  <c:v>19</c:v>
                </c:pt>
                <c:pt idx="9">
                  <c:v>23</c:v>
                </c:pt>
              </c:numCache>
            </c:numRef>
          </c:val>
          <c:extLst>
            <c:ext xmlns:c16="http://schemas.microsoft.com/office/drawing/2014/chart" uri="{C3380CC4-5D6E-409C-BE32-E72D297353CC}">
              <c16:uniqueId val="{00000004-9549-4F3B-907A-16DF92284814}"/>
            </c:ext>
          </c:extLst>
        </c:ser>
        <c:dLbls>
          <c:showLegendKey val="0"/>
          <c:showVal val="0"/>
          <c:showCatName val="0"/>
          <c:showSerName val="0"/>
          <c:showPercent val="0"/>
          <c:showBubbleSize val="0"/>
        </c:dLbls>
        <c:axId val="737779520"/>
        <c:axId val="737774032"/>
      </c:areaChart>
      <c:catAx>
        <c:axId val="737779520"/>
        <c:scaling>
          <c:orientation val="minMax"/>
        </c:scaling>
        <c:delete val="0"/>
        <c:axPos val="b"/>
        <c:numFmt formatCode="0" sourceLinked="1"/>
        <c:majorTickMark val="none"/>
        <c:minorTickMark val="none"/>
        <c:tickLblPos val="nextTo"/>
        <c:spPr>
          <a:noFill/>
          <a:ln w="19050" cap="flat" cmpd="sng" algn="ctr">
            <a:solidFill>
              <a:schemeClr val="tx2"/>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crossAx val="737774032"/>
        <c:crosses val="autoZero"/>
        <c:auto val="1"/>
        <c:lblAlgn val="ctr"/>
        <c:lblOffset val="100"/>
        <c:noMultiLvlLbl val="0"/>
      </c:catAx>
      <c:valAx>
        <c:axId val="737774032"/>
        <c:scaling>
          <c:orientation val="minMax"/>
        </c:scaling>
        <c:delete val="1"/>
        <c:axPos val="l"/>
        <c:majorGridlines>
          <c:spPr>
            <a:ln w="9525" cap="flat" cmpd="tri" algn="ctr">
              <a:solidFill>
                <a:srgbClr val="D9D9D9">
                  <a:alpha val="24706"/>
                </a:srgbClr>
              </a:solidFill>
              <a:prstDash val="solid"/>
              <a:round/>
            </a:ln>
            <a:effectLst/>
          </c:spPr>
        </c:majorGridlines>
        <c:title>
          <c:layout>
            <c:manualLayout>
              <c:xMode val="edge"/>
              <c:yMode val="edge"/>
              <c:x val="0"/>
              <c:y val="1.3984166006899171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j-lt"/>
                  <a:ea typeface="+mn-ea"/>
                  <a:cs typeface="+mn-cs"/>
                </a:defRPr>
              </a:pPr>
              <a:endParaRPr lang="en-US"/>
            </a:p>
          </c:txPr>
        </c:title>
        <c:numFmt formatCode="General" sourceLinked="1"/>
        <c:majorTickMark val="out"/>
        <c:minorTickMark val="none"/>
        <c:tickLblPos val="nextTo"/>
        <c:crossAx val="737779520"/>
        <c:crosses val="autoZero"/>
        <c:crossBetween val="between"/>
      </c:valAx>
      <c:spPr>
        <a:noFill/>
        <a:ln w="3175">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400" b="0">
          <a:solidFill>
            <a:schemeClr val="tx1"/>
          </a:solidFill>
          <a:latin typeface="+mj-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ECC93-CE84-49D6-A37B-58E8E9380098}" type="doc">
      <dgm:prSet loTypeId="urn:microsoft.com/office/officeart/2005/8/layout/cycle3" loCatId="cycle" qsTypeId="urn:microsoft.com/office/officeart/2005/8/quickstyle/simple1" qsCatId="simple" csTypeId="urn:microsoft.com/office/officeart/2005/8/colors/accent1_4" csCatId="accent1" phldr="1"/>
      <dgm:spPr/>
      <dgm:t>
        <a:bodyPr/>
        <a:lstStyle/>
        <a:p>
          <a:endParaRPr lang="de-DE"/>
        </a:p>
      </dgm:t>
    </dgm:pt>
    <dgm:pt modelId="{45E65B85-6583-4748-BD72-A79F09A1538B}">
      <dgm:prSet custT="1"/>
      <dgm:spPr/>
      <dgm:t>
        <a:bodyPr/>
        <a:lstStyle/>
        <a:p>
          <a:pPr rtl="0"/>
          <a:r>
            <a:rPr lang="en-GB" sz="1800" dirty="0"/>
            <a:t>Element 1</a:t>
          </a:r>
        </a:p>
      </dgm:t>
    </dgm:pt>
    <dgm:pt modelId="{62648AE2-6CE3-4D51-8999-00A0F3E139CD}" type="parTrans" cxnId="{2000988D-A97A-4601-B170-B65E5396CE1E}">
      <dgm:prSet/>
      <dgm:spPr/>
      <dgm:t>
        <a:bodyPr/>
        <a:lstStyle/>
        <a:p>
          <a:endParaRPr lang="de-DE" sz="1800"/>
        </a:p>
      </dgm:t>
    </dgm:pt>
    <dgm:pt modelId="{1335282E-8EAD-404B-B651-2EEE9DDFC502}" type="sibTrans" cxnId="{2000988D-A97A-4601-B170-B65E5396CE1E}">
      <dgm:prSet/>
      <dgm:spPr/>
      <dgm:t>
        <a:bodyPr/>
        <a:lstStyle/>
        <a:p>
          <a:endParaRPr lang="en-GB" sz="1800" dirty="0"/>
        </a:p>
      </dgm:t>
    </dgm:pt>
    <dgm:pt modelId="{79F89897-13B9-4997-9CB1-2F6ED9537438}">
      <dgm:prSet custT="1"/>
      <dgm:spPr/>
      <dgm:t>
        <a:bodyPr/>
        <a:lstStyle/>
        <a:p>
          <a:pPr rtl="0"/>
          <a:r>
            <a:rPr lang="en-GB" sz="1800" dirty="0"/>
            <a:t>Element 2</a:t>
          </a:r>
        </a:p>
      </dgm:t>
    </dgm:pt>
    <dgm:pt modelId="{9BB297F4-DED2-4044-8853-D0C52CE0F62C}" type="parTrans" cxnId="{E4206668-357C-4D66-97A5-48E400DB4B65}">
      <dgm:prSet/>
      <dgm:spPr/>
      <dgm:t>
        <a:bodyPr/>
        <a:lstStyle/>
        <a:p>
          <a:endParaRPr lang="de-DE" sz="1800"/>
        </a:p>
      </dgm:t>
    </dgm:pt>
    <dgm:pt modelId="{A2E56CBE-B77D-45C6-B901-FAE0F3515DB9}" type="sibTrans" cxnId="{E4206668-357C-4D66-97A5-48E400DB4B65}">
      <dgm:prSet/>
      <dgm:spPr/>
      <dgm:t>
        <a:bodyPr/>
        <a:lstStyle/>
        <a:p>
          <a:endParaRPr lang="de-DE" sz="1800"/>
        </a:p>
      </dgm:t>
    </dgm:pt>
    <dgm:pt modelId="{9C24BE1E-64BF-46C9-BD9B-655917460C6B}">
      <dgm:prSet custT="1"/>
      <dgm:spPr/>
      <dgm:t>
        <a:bodyPr/>
        <a:lstStyle/>
        <a:p>
          <a:pPr rtl="0"/>
          <a:r>
            <a:rPr lang="en-GB" sz="1800" dirty="0"/>
            <a:t>Element 4</a:t>
          </a:r>
        </a:p>
      </dgm:t>
    </dgm:pt>
    <dgm:pt modelId="{0A94DE53-4961-477E-A054-465BD7A0D864}" type="parTrans" cxnId="{7811A9AF-1C48-40B8-8F7C-27AFE36ABDED}">
      <dgm:prSet/>
      <dgm:spPr/>
      <dgm:t>
        <a:bodyPr/>
        <a:lstStyle/>
        <a:p>
          <a:endParaRPr lang="de-DE" sz="1800"/>
        </a:p>
      </dgm:t>
    </dgm:pt>
    <dgm:pt modelId="{B08F9CE9-9EEF-4BD3-965F-43810495667C}" type="sibTrans" cxnId="{7811A9AF-1C48-40B8-8F7C-27AFE36ABDED}">
      <dgm:prSet/>
      <dgm:spPr/>
      <dgm:t>
        <a:bodyPr/>
        <a:lstStyle/>
        <a:p>
          <a:endParaRPr lang="de-DE" sz="1800"/>
        </a:p>
      </dgm:t>
    </dgm:pt>
    <dgm:pt modelId="{863C1F2A-A94B-4C70-A60E-38B5DF1EBE35}">
      <dgm:prSet custT="1"/>
      <dgm:spPr/>
      <dgm:t>
        <a:bodyPr/>
        <a:lstStyle/>
        <a:p>
          <a:pPr rtl="0"/>
          <a:r>
            <a:rPr lang="en-GB" sz="1800" dirty="0"/>
            <a:t>Element 5</a:t>
          </a:r>
        </a:p>
      </dgm:t>
    </dgm:pt>
    <dgm:pt modelId="{8B045411-9718-416E-8CF8-CB69838ADB72}" type="parTrans" cxnId="{6A2FBAA9-0786-4E50-8A65-BF222C50AEDC}">
      <dgm:prSet/>
      <dgm:spPr/>
      <dgm:t>
        <a:bodyPr/>
        <a:lstStyle/>
        <a:p>
          <a:endParaRPr lang="de-DE" sz="1800"/>
        </a:p>
      </dgm:t>
    </dgm:pt>
    <dgm:pt modelId="{88856ADE-B5B3-4E00-A92E-D0CDEEE1CFC5}" type="sibTrans" cxnId="{6A2FBAA9-0786-4E50-8A65-BF222C50AEDC}">
      <dgm:prSet/>
      <dgm:spPr/>
      <dgm:t>
        <a:bodyPr/>
        <a:lstStyle/>
        <a:p>
          <a:endParaRPr lang="de-DE" sz="1800"/>
        </a:p>
      </dgm:t>
    </dgm:pt>
    <dgm:pt modelId="{3CCA1295-FC92-4152-B480-2CAA7E36E3D6}">
      <dgm:prSet custT="1"/>
      <dgm:spPr/>
      <dgm:t>
        <a:bodyPr/>
        <a:lstStyle/>
        <a:p>
          <a:pPr rtl="0"/>
          <a:r>
            <a:rPr lang="en-GB" sz="1800" dirty="0"/>
            <a:t>Element 3</a:t>
          </a:r>
        </a:p>
      </dgm:t>
    </dgm:pt>
    <dgm:pt modelId="{7766A53F-E382-4F8D-866F-5424C8BC9BD8}" type="parTrans" cxnId="{2173B68A-B3FF-4EB1-BF9F-68B70D3A7A81}">
      <dgm:prSet/>
      <dgm:spPr/>
      <dgm:t>
        <a:bodyPr/>
        <a:lstStyle/>
        <a:p>
          <a:endParaRPr lang="de-DE" sz="1800"/>
        </a:p>
      </dgm:t>
    </dgm:pt>
    <dgm:pt modelId="{92BC9104-5B1B-4E06-A06C-83200D6B8D3D}" type="sibTrans" cxnId="{2173B68A-B3FF-4EB1-BF9F-68B70D3A7A81}">
      <dgm:prSet/>
      <dgm:spPr/>
      <dgm:t>
        <a:bodyPr/>
        <a:lstStyle/>
        <a:p>
          <a:endParaRPr lang="de-DE" sz="1800"/>
        </a:p>
      </dgm:t>
    </dgm:pt>
    <dgm:pt modelId="{FFA29C18-BCF8-4642-BB61-9C8077982296}">
      <dgm:prSet custT="1"/>
      <dgm:spPr/>
      <dgm:t>
        <a:bodyPr/>
        <a:lstStyle/>
        <a:p>
          <a:pPr rtl="0"/>
          <a:r>
            <a:rPr lang="en-GB" sz="1800" dirty="0"/>
            <a:t>Element 6</a:t>
          </a:r>
        </a:p>
      </dgm:t>
    </dgm:pt>
    <dgm:pt modelId="{CADF66D9-E05E-4804-A1FB-960A97FF7B69}" type="parTrans" cxnId="{BE1D0018-3062-4FC5-B683-3BDDCF3BD996}">
      <dgm:prSet/>
      <dgm:spPr/>
      <dgm:t>
        <a:bodyPr/>
        <a:lstStyle/>
        <a:p>
          <a:endParaRPr lang="de-DE"/>
        </a:p>
      </dgm:t>
    </dgm:pt>
    <dgm:pt modelId="{D58C1810-2239-4A48-A667-355CE5EBEBC2}" type="sibTrans" cxnId="{BE1D0018-3062-4FC5-B683-3BDDCF3BD996}">
      <dgm:prSet/>
      <dgm:spPr/>
      <dgm:t>
        <a:bodyPr/>
        <a:lstStyle/>
        <a:p>
          <a:endParaRPr lang="de-DE"/>
        </a:p>
      </dgm:t>
    </dgm:pt>
    <dgm:pt modelId="{6FC5C45A-EF43-4F33-A14C-13E67F04B9CA}">
      <dgm:prSet custT="1"/>
      <dgm:spPr/>
      <dgm:t>
        <a:bodyPr/>
        <a:lstStyle/>
        <a:p>
          <a:pPr rtl="0"/>
          <a:r>
            <a:rPr lang="en-GB" sz="1800" dirty="0"/>
            <a:t>Element 7</a:t>
          </a:r>
        </a:p>
      </dgm:t>
    </dgm:pt>
    <dgm:pt modelId="{BFBB38C8-DD6B-47D9-B771-1E77D1F3C8AC}" type="parTrans" cxnId="{DB935EAA-BBCD-4653-8A2D-52F0B6EFADB8}">
      <dgm:prSet/>
      <dgm:spPr/>
      <dgm:t>
        <a:bodyPr/>
        <a:lstStyle/>
        <a:p>
          <a:endParaRPr lang="de-DE"/>
        </a:p>
      </dgm:t>
    </dgm:pt>
    <dgm:pt modelId="{D73B1C0D-A0FB-43F3-96D5-3B29349B538A}" type="sibTrans" cxnId="{DB935EAA-BBCD-4653-8A2D-52F0B6EFADB8}">
      <dgm:prSet/>
      <dgm:spPr/>
      <dgm:t>
        <a:bodyPr/>
        <a:lstStyle/>
        <a:p>
          <a:endParaRPr lang="de-DE"/>
        </a:p>
      </dgm:t>
    </dgm:pt>
    <dgm:pt modelId="{E861DED2-5253-4E1F-9934-493894523746}">
      <dgm:prSet custT="1"/>
      <dgm:spPr/>
      <dgm:t>
        <a:bodyPr/>
        <a:lstStyle/>
        <a:p>
          <a:pPr rtl="0"/>
          <a:r>
            <a:rPr lang="en-GB" sz="1800" dirty="0"/>
            <a:t>Element 8</a:t>
          </a:r>
        </a:p>
      </dgm:t>
    </dgm:pt>
    <dgm:pt modelId="{DD750D60-46A3-4A4A-8AED-7D8EA2453FF6}" type="parTrans" cxnId="{0971EF8E-74F8-403B-9D21-32E0F5B4D105}">
      <dgm:prSet/>
      <dgm:spPr/>
      <dgm:t>
        <a:bodyPr/>
        <a:lstStyle/>
        <a:p>
          <a:endParaRPr lang="de-DE"/>
        </a:p>
      </dgm:t>
    </dgm:pt>
    <dgm:pt modelId="{7DD80C11-041B-4355-8761-226149179ED6}" type="sibTrans" cxnId="{0971EF8E-74F8-403B-9D21-32E0F5B4D105}">
      <dgm:prSet/>
      <dgm:spPr/>
      <dgm:t>
        <a:bodyPr/>
        <a:lstStyle/>
        <a:p>
          <a:endParaRPr lang="de-DE"/>
        </a:p>
      </dgm:t>
    </dgm:pt>
    <dgm:pt modelId="{0A38EE3B-155C-4420-8A2F-76E63EC29EFF}" type="pres">
      <dgm:prSet presAssocID="{AEDECC93-CE84-49D6-A37B-58E8E9380098}" presName="Name0" presStyleCnt="0">
        <dgm:presLayoutVars>
          <dgm:dir/>
          <dgm:resizeHandles val="exact"/>
        </dgm:presLayoutVars>
      </dgm:prSet>
      <dgm:spPr/>
    </dgm:pt>
    <dgm:pt modelId="{9CC02782-5C2E-4982-A4A7-9F65539306B1}" type="pres">
      <dgm:prSet presAssocID="{AEDECC93-CE84-49D6-A37B-58E8E9380098}" presName="cycle" presStyleCnt="0"/>
      <dgm:spPr/>
    </dgm:pt>
    <dgm:pt modelId="{21B275A7-9097-4399-A2FF-6875D018C681}" type="pres">
      <dgm:prSet presAssocID="{45E65B85-6583-4748-BD72-A79F09A1538B}" presName="nodeFirstNode" presStyleLbl="node1" presStyleIdx="0" presStyleCnt="8">
        <dgm:presLayoutVars>
          <dgm:bulletEnabled val="1"/>
        </dgm:presLayoutVars>
      </dgm:prSet>
      <dgm:spPr>
        <a:prstGeom prst="rect">
          <a:avLst/>
        </a:prstGeom>
      </dgm:spPr>
    </dgm:pt>
    <dgm:pt modelId="{DAC811E2-820C-4C0E-AC0E-B218223C9155}" type="pres">
      <dgm:prSet presAssocID="{1335282E-8EAD-404B-B651-2EEE9DDFC502}" presName="sibTransFirstNode" presStyleLbl="bgShp" presStyleIdx="0" presStyleCnt="1"/>
      <dgm:spPr/>
    </dgm:pt>
    <dgm:pt modelId="{D1830BC7-172C-4012-8235-DE762D593CC7}" type="pres">
      <dgm:prSet presAssocID="{79F89897-13B9-4997-9CB1-2F6ED9537438}" presName="nodeFollowingNodes" presStyleLbl="node1" presStyleIdx="1" presStyleCnt="8" custRadScaleRad="98504" custRadScaleInc="22415">
        <dgm:presLayoutVars>
          <dgm:bulletEnabled val="1"/>
        </dgm:presLayoutVars>
      </dgm:prSet>
      <dgm:spPr>
        <a:prstGeom prst="rect">
          <a:avLst/>
        </a:prstGeom>
      </dgm:spPr>
    </dgm:pt>
    <dgm:pt modelId="{36701CE4-A7D5-4192-A88B-9E101E6B75AC}" type="pres">
      <dgm:prSet presAssocID="{3CCA1295-FC92-4152-B480-2CAA7E36E3D6}" presName="nodeFollowingNodes" presStyleLbl="node1" presStyleIdx="2" presStyleCnt="8">
        <dgm:presLayoutVars>
          <dgm:bulletEnabled val="1"/>
        </dgm:presLayoutVars>
      </dgm:prSet>
      <dgm:spPr>
        <a:prstGeom prst="rect">
          <a:avLst/>
        </a:prstGeom>
      </dgm:spPr>
    </dgm:pt>
    <dgm:pt modelId="{749ED4B4-DD88-4969-9C84-545A7175671E}" type="pres">
      <dgm:prSet presAssocID="{9C24BE1E-64BF-46C9-BD9B-655917460C6B}" presName="nodeFollowingNodes" presStyleLbl="node1" presStyleIdx="3" presStyleCnt="8" custRadScaleRad="99253" custRadScaleInc="-20941">
        <dgm:presLayoutVars>
          <dgm:bulletEnabled val="1"/>
        </dgm:presLayoutVars>
      </dgm:prSet>
      <dgm:spPr>
        <a:prstGeom prst="rect">
          <a:avLst/>
        </a:prstGeom>
      </dgm:spPr>
    </dgm:pt>
    <dgm:pt modelId="{232652E8-1569-48CF-A634-7D2E5B5AAA8F}" type="pres">
      <dgm:prSet presAssocID="{863C1F2A-A94B-4C70-A60E-38B5DF1EBE35}" presName="nodeFollowingNodes" presStyleLbl="node1" presStyleIdx="4" presStyleCnt="8">
        <dgm:presLayoutVars>
          <dgm:bulletEnabled val="1"/>
        </dgm:presLayoutVars>
      </dgm:prSet>
      <dgm:spPr>
        <a:prstGeom prst="rect">
          <a:avLst/>
        </a:prstGeom>
      </dgm:spPr>
    </dgm:pt>
    <dgm:pt modelId="{F6EE1963-124F-4944-94C1-58E43E077C83}" type="pres">
      <dgm:prSet presAssocID="{FFA29C18-BCF8-4642-BB61-9C8077982296}" presName="nodeFollowingNodes" presStyleLbl="node1" presStyleIdx="5" presStyleCnt="8" custRadScaleRad="98570" custRadScaleInc="20203">
        <dgm:presLayoutVars>
          <dgm:bulletEnabled val="1"/>
        </dgm:presLayoutVars>
      </dgm:prSet>
      <dgm:spPr>
        <a:prstGeom prst="rect">
          <a:avLst/>
        </a:prstGeom>
      </dgm:spPr>
    </dgm:pt>
    <dgm:pt modelId="{556ADB4D-00F2-4202-8CFD-D8DA6DA66A85}" type="pres">
      <dgm:prSet presAssocID="{6FC5C45A-EF43-4F33-A14C-13E67F04B9CA}" presName="nodeFollowingNodes" presStyleLbl="node1" presStyleIdx="6" presStyleCnt="8">
        <dgm:presLayoutVars>
          <dgm:bulletEnabled val="1"/>
        </dgm:presLayoutVars>
      </dgm:prSet>
      <dgm:spPr>
        <a:prstGeom prst="rect">
          <a:avLst/>
        </a:prstGeom>
      </dgm:spPr>
    </dgm:pt>
    <dgm:pt modelId="{351843FB-0460-4063-A166-1869BAF633AB}" type="pres">
      <dgm:prSet presAssocID="{E861DED2-5253-4E1F-9934-493894523746}" presName="nodeFollowingNodes" presStyleLbl="node1" presStyleIdx="7" presStyleCnt="8" custRadScaleRad="97817" custRadScaleInc="-21680">
        <dgm:presLayoutVars>
          <dgm:bulletEnabled val="1"/>
        </dgm:presLayoutVars>
      </dgm:prSet>
      <dgm:spPr>
        <a:prstGeom prst="rect">
          <a:avLst/>
        </a:prstGeom>
      </dgm:spPr>
    </dgm:pt>
  </dgm:ptLst>
  <dgm:cxnLst>
    <dgm:cxn modelId="{BE1D0018-3062-4FC5-B683-3BDDCF3BD996}" srcId="{AEDECC93-CE84-49D6-A37B-58E8E9380098}" destId="{FFA29C18-BCF8-4642-BB61-9C8077982296}" srcOrd="5" destOrd="0" parTransId="{CADF66D9-E05E-4804-A1FB-960A97FF7B69}" sibTransId="{D58C1810-2239-4A48-A667-355CE5EBEBC2}"/>
    <dgm:cxn modelId="{C2E6D045-DFDD-40DE-830E-E60E4C6FDBED}" type="presOf" srcId="{863C1F2A-A94B-4C70-A60E-38B5DF1EBE35}" destId="{232652E8-1569-48CF-A634-7D2E5B5AAA8F}" srcOrd="0" destOrd="0" presId="urn:microsoft.com/office/officeart/2005/8/layout/cycle3"/>
    <dgm:cxn modelId="{E4206668-357C-4D66-97A5-48E400DB4B65}" srcId="{AEDECC93-CE84-49D6-A37B-58E8E9380098}" destId="{79F89897-13B9-4997-9CB1-2F6ED9537438}" srcOrd="1" destOrd="0" parTransId="{9BB297F4-DED2-4044-8853-D0C52CE0F62C}" sibTransId="{A2E56CBE-B77D-45C6-B901-FAE0F3515DB9}"/>
    <dgm:cxn modelId="{4CB50D53-7154-44F0-99B7-7A6382710C22}" type="presOf" srcId="{1335282E-8EAD-404B-B651-2EEE9DDFC502}" destId="{DAC811E2-820C-4C0E-AC0E-B218223C9155}" srcOrd="0" destOrd="0" presId="urn:microsoft.com/office/officeart/2005/8/layout/cycle3"/>
    <dgm:cxn modelId="{EF78CF73-0C4B-476B-A3F7-F116AE6B4CBF}" type="presOf" srcId="{FFA29C18-BCF8-4642-BB61-9C8077982296}" destId="{F6EE1963-124F-4944-94C1-58E43E077C83}" srcOrd="0" destOrd="0" presId="urn:microsoft.com/office/officeart/2005/8/layout/cycle3"/>
    <dgm:cxn modelId="{2173B68A-B3FF-4EB1-BF9F-68B70D3A7A81}" srcId="{AEDECC93-CE84-49D6-A37B-58E8E9380098}" destId="{3CCA1295-FC92-4152-B480-2CAA7E36E3D6}" srcOrd="2" destOrd="0" parTransId="{7766A53F-E382-4F8D-866F-5424C8BC9BD8}" sibTransId="{92BC9104-5B1B-4E06-A06C-83200D6B8D3D}"/>
    <dgm:cxn modelId="{2000988D-A97A-4601-B170-B65E5396CE1E}" srcId="{AEDECC93-CE84-49D6-A37B-58E8E9380098}" destId="{45E65B85-6583-4748-BD72-A79F09A1538B}" srcOrd="0" destOrd="0" parTransId="{62648AE2-6CE3-4D51-8999-00A0F3E139CD}" sibTransId="{1335282E-8EAD-404B-B651-2EEE9DDFC502}"/>
    <dgm:cxn modelId="{0971EF8E-74F8-403B-9D21-32E0F5B4D105}" srcId="{AEDECC93-CE84-49D6-A37B-58E8E9380098}" destId="{E861DED2-5253-4E1F-9934-493894523746}" srcOrd="7" destOrd="0" parTransId="{DD750D60-46A3-4A4A-8AED-7D8EA2453FF6}" sibTransId="{7DD80C11-041B-4355-8761-226149179ED6}"/>
    <dgm:cxn modelId="{422CE8A1-B507-493D-ADF5-24CE7A174B9F}" type="presOf" srcId="{9C24BE1E-64BF-46C9-BD9B-655917460C6B}" destId="{749ED4B4-DD88-4969-9C84-545A7175671E}" srcOrd="0" destOrd="0" presId="urn:microsoft.com/office/officeart/2005/8/layout/cycle3"/>
    <dgm:cxn modelId="{90F37CA7-DA55-4B73-87CA-3545CD7B5C9C}" type="presOf" srcId="{45E65B85-6583-4748-BD72-A79F09A1538B}" destId="{21B275A7-9097-4399-A2FF-6875D018C681}" srcOrd="0" destOrd="0" presId="urn:microsoft.com/office/officeart/2005/8/layout/cycle3"/>
    <dgm:cxn modelId="{6A2FBAA9-0786-4E50-8A65-BF222C50AEDC}" srcId="{AEDECC93-CE84-49D6-A37B-58E8E9380098}" destId="{863C1F2A-A94B-4C70-A60E-38B5DF1EBE35}" srcOrd="4" destOrd="0" parTransId="{8B045411-9718-416E-8CF8-CB69838ADB72}" sibTransId="{88856ADE-B5B3-4E00-A92E-D0CDEEE1CFC5}"/>
    <dgm:cxn modelId="{DB935EAA-BBCD-4653-8A2D-52F0B6EFADB8}" srcId="{AEDECC93-CE84-49D6-A37B-58E8E9380098}" destId="{6FC5C45A-EF43-4F33-A14C-13E67F04B9CA}" srcOrd="6" destOrd="0" parTransId="{BFBB38C8-DD6B-47D9-B771-1E77D1F3C8AC}" sibTransId="{D73B1C0D-A0FB-43F3-96D5-3B29349B538A}"/>
    <dgm:cxn modelId="{7811A9AF-1C48-40B8-8F7C-27AFE36ABDED}" srcId="{AEDECC93-CE84-49D6-A37B-58E8E9380098}" destId="{9C24BE1E-64BF-46C9-BD9B-655917460C6B}" srcOrd="3" destOrd="0" parTransId="{0A94DE53-4961-477E-A054-465BD7A0D864}" sibTransId="{B08F9CE9-9EEF-4BD3-965F-43810495667C}"/>
    <dgm:cxn modelId="{A3C3ACB3-4260-477D-AC66-1882C3698017}" type="presOf" srcId="{3CCA1295-FC92-4152-B480-2CAA7E36E3D6}" destId="{36701CE4-A7D5-4192-A88B-9E101E6B75AC}" srcOrd="0" destOrd="0" presId="urn:microsoft.com/office/officeart/2005/8/layout/cycle3"/>
    <dgm:cxn modelId="{C9A032C5-24BA-4B82-B889-AAD3D83B72D2}" type="presOf" srcId="{E861DED2-5253-4E1F-9934-493894523746}" destId="{351843FB-0460-4063-A166-1869BAF633AB}" srcOrd="0" destOrd="0" presId="urn:microsoft.com/office/officeart/2005/8/layout/cycle3"/>
    <dgm:cxn modelId="{A1A01AD0-294A-4CBE-8B57-FAF8AE9FB74E}" type="presOf" srcId="{79F89897-13B9-4997-9CB1-2F6ED9537438}" destId="{D1830BC7-172C-4012-8235-DE762D593CC7}" srcOrd="0" destOrd="0" presId="urn:microsoft.com/office/officeart/2005/8/layout/cycle3"/>
    <dgm:cxn modelId="{F77884FE-B465-4117-9E1E-86D32DDD39BB}" type="presOf" srcId="{6FC5C45A-EF43-4F33-A14C-13E67F04B9CA}" destId="{556ADB4D-00F2-4202-8CFD-D8DA6DA66A85}" srcOrd="0" destOrd="0" presId="urn:microsoft.com/office/officeart/2005/8/layout/cycle3"/>
    <dgm:cxn modelId="{2DD0CFFF-765F-4AD6-B1B2-CA1CC14D515C}" type="presOf" srcId="{AEDECC93-CE84-49D6-A37B-58E8E9380098}" destId="{0A38EE3B-155C-4420-8A2F-76E63EC29EFF}" srcOrd="0" destOrd="0" presId="urn:microsoft.com/office/officeart/2005/8/layout/cycle3"/>
    <dgm:cxn modelId="{A5BDF0CF-6854-43D0-9F30-0527E28D790B}" type="presParOf" srcId="{0A38EE3B-155C-4420-8A2F-76E63EC29EFF}" destId="{9CC02782-5C2E-4982-A4A7-9F65539306B1}" srcOrd="0" destOrd="0" presId="urn:microsoft.com/office/officeart/2005/8/layout/cycle3"/>
    <dgm:cxn modelId="{2BA39B42-D54D-45CD-B743-6B2BF9B4D1C3}" type="presParOf" srcId="{9CC02782-5C2E-4982-A4A7-9F65539306B1}" destId="{21B275A7-9097-4399-A2FF-6875D018C681}" srcOrd="0" destOrd="0" presId="urn:microsoft.com/office/officeart/2005/8/layout/cycle3"/>
    <dgm:cxn modelId="{4B849DEC-016C-4DEC-BDF0-8F1BBDD34D77}" type="presParOf" srcId="{9CC02782-5C2E-4982-A4A7-9F65539306B1}" destId="{DAC811E2-820C-4C0E-AC0E-B218223C9155}" srcOrd="1" destOrd="0" presId="urn:microsoft.com/office/officeart/2005/8/layout/cycle3"/>
    <dgm:cxn modelId="{DAC76ED8-F252-494D-8803-463A76D079FF}" type="presParOf" srcId="{9CC02782-5C2E-4982-A4A7-9F65539306B1}" destId="{D1830BC7-172C-4012-8235-DE762D593CC7}" srcOrd="2" destOrd="0" presId="urn:microsoft.com/office/officeart/2005/8/layout/cycle3"/>
    <dgm:cxn modelId="{1EA4E1BD-D615-4475-A46C-ACCE39178E5C}" type="presParOf" srcId="{9CC02782-5C2E-4982-A4A7-9F65539306B1}" destId="{36701CE4-A7D5-4192-A88B-9E101E6B75AC}" srcOrd="3" destOrd="0" presId="urn:microsoft.com/office/officeart/2005/8/layout/cycle3"/>
    <dgm:cxn modelId="{0618B1C1-7640-4B7B-BCBE-A6B166F60E9F}" type="presParOf" srcId="{9CC02782-5C2E-4982-A4A7-9F65539306B1}" destId="{749ED4B4-DD88-4969-9C84-545A7175671E}" srcOrd="4" destOrd="0" presId="urn:microsoft.com/office/officeart/2005/8/layout/cycle3"/>
    <dgm:cxn modelId="{36070F2F-8992-4AD8-AF1F-F74C5368D4A0}" type="presParOf" srcId="{9CC02782-5C2E-4982-A4A7-9F65539306B1}" destId="{232652E8-1569-48CF-A634-7D2E5B5AAA8F}" srcOrd="5" destOrd="0" presId="urn:microsoft.com/office/officeart/2005/8/layout/cycle3"/>
    <dgm:cxn modelId="{D60E694C-A046-460F-B9C3-C131441C0A19}" type="presParOf" srcId="{9CC02782-5C2E-4982-A4A7-9F65539306B1}" destId="{F6EE1963-124F-4944-94C1-58E43E077C83}" srcOrd="6" destOrd="0" presId="urn:microsoft.com/office/officeart/2005/8/layout/cycle3"/>
    <dgm:cxn modelId="{1ACD69FB-33C1-4EE2-9CA3-5515BEC00FFF}" type="presParOf" srcId="{9CC02782-5C2E-4982-A4A7-9F65539306B1}" destId="{556ADB4D-00F2-4202-8CFD-D8DA6DA66A85}" srcOrd="7" destOrd="0" presId="urn:microsoft.com/office/officeart/2005/8/layout/cycle3"/>
    <dgm:cxn modelId="{531596A1-9A90-4BD6-806F-8D1E1BA3ECEA}" type="presParOf" srcId="{9CC02782-5C2E-4982-A4A7-9F65539306B1}" destId="{351843FB-0460-4063-A166-1869BAF633AB}" srcOrd="8" destOrd="0" presId="urn:microsoft.com/office/officeart/2005/8/layout/cycle3"/>
  </dgm:cxnLst>
  <dgm:bg/>
  <dgm:whole>
    <a:ln w="31750">
      <a:noFill/>
    </a:ln>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C811E2-820C-4C0E-AC0E-B218223C9155}">
      <dsp:nvSpPr>
        <dsp:cNvPr id="0" name=""/>
        <dsp:cNvSpPr/>
      </dsp:nvSpPr>
      <dsp:spPr>
        <a:xfrm>
          <a:off x="630472" y="-41868"/>
          <a:ext cx="4748274" cy="4748274"/>
        </a:xfrm>
        <a:prstGeom prst="circularArrow">
          <a:avLst>
            <a:gd name="adj1" fmla="val 5544"/>
            <a:gd name="adj2" fmla="val 330680"/>
            <a:gd name="adj3" fmla="val 14665310"/>
            <a:gd name="adj4" fmla="val 16865135"/>
            <a:gd name="adj5" fmla="val 5757"/>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B275A7-9097-4399-A2FF-6875D018C681}">
      <dsp:nvSpPr>
        <dsp:cNvPr id="0" name=""/>
        <dsp:cNvSpPr/>
      </dsp:nvSpPr>
      <dsp:spPr>
        <a:xfrm>
          <a:off x="2344417" y="2490"/>
          <a:ext cx="1320385" cy="660192"/>
        </a:xfrm>
        <a:prstGeom prst="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t>Element 1</a:t>
          </a:r>
        </a:p>
      </dsp:txBody>
      <dsp:txXfrm>
        <a:off x="2344417" y="2490"/>
        <a:ext cx="1320385" cy="660192"/>
      </dsp:txXfrm>
    </dsp:sp>
    <dsp:sp modelId="{D1830BC7-172C-4012-8235-DE762D593CC7}">
      <dsp:nvSpPr>
        <dsp:cNvPr id="0" name=""/>
        <dsp:cNvSpPr/>
      </dsp:nvSpPr>
      <dsp:spPr>
        <a:xfrm>
          <a:off x="3957353" y="854011"/>
          <a:ext cx="1320385" cy="660192"/>
        </a:xfrm>
        <a:prstGeom prst="rect">
          <a:avLst/>
        </a:prstGeom>
        <a:solidFill>
          <a:schemeClr val="accent1">
            <a:shade val="50000"/>
            <a:hueOff val="48548"/>
            <a:satOff val="-3166"/>
            <a:lumOff val="108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t>Element 2</a:t>
          </a:r>
        </a:p>
      </dsp:txBody>
      <dsp:txXfrm>
        <a:off x="3957353" y="854011"/>
        <a:ext cx="1320385" cy="660192"/>
      </dsp:txXfrm>
    </dsp:sp>
    <dsp:sp modelId="{36701CE4-A7D5-4192-A88B-9E101E6B75AC}">
      <dsp:nvSpPr>
        <dsp:cNvPr id="0" name=""/>
        <dsp:cNvSpPr/>
      </dsp:nvSpPr>
      <dsp:spPr>
        <a:xfrm>
          <a:off x="4369267" y="2027341"/>
          <a:ext cx="1320385" cy="660192"/>
        </a:xfrm>
        <a:prstGeom prst="rect">
          <a:avLst/>
        </a:prstGeom>
        <a:solidFill>
          <a:schemeClr val="accent1">
            <a:shade val="50000"/>
            <a:hueOff val="97096"/>
            <a:satOff val="-6332"/>
            <a:lumOff val="217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t>Element 3</a:t>
          </a:r>
        </a:p>
      </dsp:txBody>
      <dsp:txXfrm>
        <a:off x="4369267" y="2027341"/>
        <a:ext cx="1320385" cy="660192"/>
      </dsp:txXfrm>
    </dsp:sp>
    <dsp:sp modelId="{749ED4B4-DD88-4969-9C84-545A7175671E}">
      <dsp:nvSpPr>
        <dsp:cNvPr id="0" name=""/>
        <dsp:cNvSpPr/>
      </dsp:nvSpPr>
      <dsp:spPr>
        <a:xfrm>
          <a:off x="3957365" y="3226253"/>
          <a:ext cx="1320385" cy="660192"/>
        </a:xfrm>
        <a:prstGeom prst="rect">
          <a:avLst/>
        </a:prstGeom>
        <a:solidFill>
          <a:schemeClr val="accent1">
            <a:shade val="50000"/>
            <a:hueOff val="145644"/>
            <a:satOff val="-9497"/>
            <a:lumOff val="326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t>Element 4</a:t>
          </a:r>
        </a:p>
      </dsp:txBody>
      <dsp:txXfrm>
        <a:off x="3957365" y="3226253"/>
        <a:ext cx="1320385" cy="660192"/>
      </dsp:txXfrm>
    </dsp:sp>
    <dsp:sp modelId="{232652E8-1569-48CF-A634-7D2E5B5AAA8F}">
      <dsp:nvSpPr>
        <dsp:cNvPr id="0" name=""/>
        <dsp:cNvSpPr/>
      </dsp:nvSpPr>
      <dsp:spPr>
        <a:xfrm>
          <a:off x="2344417" y="4052191"/>
          <a:ext cx="1320385" cy="660192"/>
        </a:xfrm>
        <a:prstGeom prst="rect">
          <a:avLst/>
        </a:prstGeom>
        <a:solidFill>
          <a:schemeClr val="accent1">
            <a:shade val="50000"/>
            <a:hueOff val="194192"/>
            <a:satOff val="-12663"/>
            <a:lumOff val="435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t>Element 5</a:t>
          </a:r>
        </a:p>
      </dsp:txBody>
      <dsp:txXfrm>
        <a:off x="2344417" y="4052191"/>
        <a:ext cx="1320385" cy="660192"/>
      </dsp:txXfrm>
    </dsp:sp>
    <dsp:sp modelId="{F6EE1963-124F-4944-94C1-58E43E077C83}">
      <dsp:nvSpPr>
        <dsp:cNvPr id="0" name=""/>
        <dsp:cNvSpPr/>
      </dsp:nvSpPr>
      <dsp:spPr>
        <a:xfrm>
          <a:off x="748723" y="3226240"/>
          <a:ext cx="1320385" cy="660192"/>
        </a:xfrm>
        <a:prstGeom prst="rect">
          <a:avLst/>
        </a:prstGeom>
        <a:solidFill>
          <a:schemeClr val="accent1">
            <a:shade val="50000"/>
            <a:hueOff val="145644"/>
            <a:satOff val="-9497"/>
            <a:lumOff val="326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t>Element 6</a:t>
          </a:r>
        </a:p>
      </dsp:txBody>
      <dsp:txXfrm>
        <a:off x="748723" y="3226240"/>
        <a:ext cx="1320385" cy="660192"/>
      </dsp:txXfrm>
    </dsp:sp>
    <dsp:sp modelId="{556ADB4D-00F2-4202-8CFD-D8DA6DA66A85}">
      <dsp:nvSpPr>
        <dsp:cNvPr id="0" name=""/>
        <dsp:cNvSpPr/>
      </dsp:nvSpPr>
      <dsp:spPr>
        <a:xfrm>
          <a:off x="319566" y="2027341"/>
          <a:ext cx="1320385" cy="660192"/>
        </a:xfrm>
        <a:prstGeom prst="rect">
          <a:avLst/>
        </a:prstGeom>
        <a:solidFill>
          <a:schemeClr val="accent1">
            <a:shade val="50000"/>
            <a:hueOff val="97096"/>
            <a:satOff val="-6332"/>
            <a:lumOff val="217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t>Element 7</a:t>
          </a:r>
        </a:p>
      </dsp:txBody>
      <dsp:txXfrm>
        <a:off x="319566" y="2027341"/>
        <a:ext cx="1320385" cy="660192"/>
      </dsp:txXfrm>
    </dsp:sp>
    <dsp:sp modelId="{351843FB-0460-4063-A166-1869BAF633AB}">
      <dsp:nvSpPr>
        <dsp:cNvPr id="0" name=""/>
        <dsp:cNvSpPr/>
      </dsp:nvSpPr>
      <dsp:spPr>
        <a:xfrm>
          <a:off x="748730" y="853991"/>
          <a:ext cx="1320385" cy="660192"/>
        </a:xfrm>
        <a:prstGeom prst="rect">
          <a:avLst/>
        </a:prstGeom>
        <a:solidFill>
          <a:schemeClr val="accent1">
            <a:shade val="50000"/>
            <a:hueOff val="48548"/>
            <a:satOff val="-3166"/>
            <a:lumOff val="108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t>Element 8</a:t>
          </a:r>
        </a:p>
      </dsp:txBody>
      <dsp:txXfrm>
        <a:off x="748730" y="853991"/>
        <a:ext cx="1320385" cy="660192"/>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latin typeface="BMWGroupTN Condensed"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3581A5-E4C6-4927-B3C0-8FAA582B9D53}" type="datetimeFigureOut">
              <a:rPr lang="de-DE" smtClean="0">
                <a:latin typeface="BMWGroupTN Condensed" pitchFamily="50" charset="0"/>
              </a:rPr>
              <a:t>11.12.2025</a:t>
            </a:fld>
            <a:endParaRPr lang="de-DE" dirty="0">
              <a:latin typeface="BMWGroupTN Condensed"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latin typeface="BMWGroupTN Condensed"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AAB3B58-435A-4CAB-BEDA-B203A898BBFC}" type="slidenum">
              <a:rPr lang="de-DE" smtClean="0">
                <a:latin typeface="BMWGroupTN Condensed" pitchFamily="50" charset="0"/>
              </a:rPr>
              <a:t>‹#›</a:t>
            </a:fld>
            <a:endParaRPr lang="de-DE" dirty="0">
              <a:latin typeface="BMWGroupTN Condensed" pitchFamily="50" charset="0"/>
            </a:endParaRPr>
          </a:p>
        </p:txBody>
      </p:sp>
    </p:spTree>
    <p:extLst>
      <p:ext uri="{BB962C8B-B14F-4D97-AF65-F5344CB8AC3E}">
        <p14:creationId xmlns:p14="http://schemas.microsoft.com/office/powerpoint/2010/main" val="77445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BMWGroupTN Condensed" pitchFamily="50"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BMWGroupTN Condensed" pitchFamily="50" charset="0"/>
              </a:defRPr>
            </a:lvl1pPr>
          </a:lstStyle>
          <a:p>
            <a:fld id="{C9ACC0F7-209C-4EE4-A1D5-BFF0CBCA9BC3}" type="datetimeFigureOut">
              <a:rPr lang="de-DE" smtClean="0"/>
              <a:pPr/>
              <a:t>11.12.2025</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BMWGroupTN Condensed" pitchFamily="50"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BMWGroupTN Condensed" pitchFamily="50" charset="0"/>
              </a:defRPr>
            </a:lvl1pPr>
          </a:lstStyle>
          <a:p>
            <a:fld id="{845B7A2B-9D63-4AB1-9A7A-EE5F31796489}" type="slidenum">
              <a:rPr lang="de-DE" smtClean="0"/>
              <a:pPr/>
              <a:t>‹#›</a:t>
            </a:fld>
            <a:endParaRPr lang="de-DE" dirty="0"/>
          </a:p>
        </p:txBody>
      </p:sp>
    </p:spTree>
    <p:extLst>
      <p:ext uri="{BB962C8B-B14F-4D97-AF65-F5344CB8AC3E}">
        <p14:creationId xmlns:p14="http://schemas.microsoft.com/office/powerpoint/2010/main" val="423226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MWGroupTN Condensed" pitchFamily="50" charset="0"/>
        <a:ea typeface="+mn-ea"/>
        <a:cs typeface="+mn-cs"/>
      </a:defRPr>
    </a:lvl1pPr>
    <a:lvl2pPr marL="457200" algn="l" defTabSz="914400" rtl="0" eaLnBrk="1" latinLnBrk="0" hangingPunct="1">
      <a:defRPr sz="1200" kern="1200">
        <a:solidFill>
          <a:schemeClr val="tx1"/>
        </a:solidFill>
        <a:latin typeface="BMWGroupTN Condensed" pitchFamily="50" charset="0"/>
        <a:ea typeface="+mn-ea"/>
        <a:cs typeface="+mn-cs"/>
      </a:defRPr>
    </a:lvl2pPr>
    <a:lvl3pPr marL="914400" algn="l" defTabSz="914400" rtl="0" eaLnBrk="1" latinLnBrk="0" hangingPunct="1">
      <a:defRPr sz="1200" kern="1200">
        <a:solidFill>
          <a:schemeClr val="tx1"/>
        </a:solidFill>
        <a:latin typeface="BMWGroupTN Condensed" pitchFamily="50" charset="0"/>
        <a:ea typeface="+mn-ea"/>
        <a:cs typeface="+mn-cs"/>
      </a:defRPr>
    </a:lvl3pPr>
    <a:lvl4pPr marL="1371600" algn="l" defTabSz="914400" rtl="0" eaLnBrk="1" latinLnBrk="0" hangingPunct="1">
      <a:defRPr sz="1200" kern="1200">
        <a:solidFill>
          <a:schemeClr val="tx1"/>
        </a:solidFill>
        <a:latin typeface="BMWGroupTN Condensed" pitchFamily="50" charset="0"/>
        <a:ea typeface="+mn-ea"/>
        <a:cs typeface="+mn-cs"/>
      </a:defRPr>
    </a:lvl4pPr>
    <a:lvl5pPr marL="1828800" algn="l" defTabSz="914400" rtl="0" eaLnBrk="1" latinLnBrk="0" hangingPunct="1">
      <a:defRPr sz="1200" kern="1200">
        <a:solidFill>
          <a:schemeClr val="tx1"/>
        </a:solidFill>
        <a:latin typeface="BMWGroupTN Condensed"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1</a:t>
            </a:fld>
            <a:endParaRPr lang="de-DE" dirty="0"/>
          </a:p>
        </p:txBody>
      </p:sp>
    </p:spTree>
    <p:extLst>
      <p:ext uri="{BB962C8B-B14F-4D97-AF65-F5344CB8AC3E}">
        <p14:creationId xmlns:p14="http://schemas.microsoft.com/office/powerpoint/2010/main" val="4651546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0573D1E-5F8A-482C-8458-C4DA51C4C48A}" type="slidenum">
              <a:rPr lang="en-GB" smtClean="0"/>
              <a:pPr/>
              <a:t>14</a:t>
            </a:fld>
            <a:endParaRPr lang="en-GB" dirty="0"/>
          </a:p>
        </p:txBody>
      </p:sp>
      <p:sp>
        <p:nvSpPr>
          <p:cNvPr id="238594" name="Rectangle 2"/>
          <p:cNvSpPr>
            <a:spLocks noGrp="1" noRot="1" noChangeAspect="1" noChangeArrowheads="1" noTextEdit="1"/>
          </p:cNvSpPr>
          <p:nvPr>
            <p:ph type="sldImg"/>
          </p:nvPr>
        </p:nvSpPr>
        <p:spPr>
          <a:ln/>
        </p:spPr>
      </p:sp>
      <p:sp>
        <p:nvSpPr>
          <p:cNvPr id="238595" name="Rectangle 3"/>
          <p:cNvSpPr>
            <a:spLocks noGrp="1" noChangeArrowheads="1"/>
          </p:cNvSpPr>
          <p:nvPr>
            <p:ph type="body" idx="1"/>
          </p:nvPr>
        </p:nvSpPr>
        <p:spPr/>
        <p:txBody>
          <a:bodyPr/>
          <a:lstStyle/>
          <a:p>
            <a:endParaRPr lang="en-GB" dirty="0"/>
          </a:p>
        </p:txBody>
      </p:sp>
    </p:spTree>
    <p:extLst>
      <p:ext uri="{BB962C8B-B14F-4D97-AF65-F5344CB8AC3E}">
        <p14:creationId xmlns:p14="http://schemas.microsoft.com/office/powerpoint/2010/main" val="2761553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67A725A-9256-4EC5-8CDB-4CC5D97770DD}" type="slidenum">
              <a:rPr lang="de-DE" smtClean="0"/>
              <a:pPr/>
              <a:t>15</a:t>
            </a:fld>
            <a:endParaRPr lang="de-DE" dirty="0"/>
          </a:p>
        </p:txBody>
      </p:sp>
    </p:spTree>
    <p:extLst>
      <p:ext uri="{BB962C8B-B14F-4D97-AF65-F5344CB8AC3E}">
        <p14:creationId xmlns:p14="http://schemas.microsoft.com/office/powerpoint/2010/main" val="28901582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67A725A-9256-4EC5-8CDB-4CC5D97770DD}" type="slidenum">
              <a:rPr lang="en-GB" smtClean="0"/>
              <a:pPr/>
              <a:t>16</a:t>
            </a:fld>
            <a:endParaRPr lang="en-GB" dirty="0"/>
          </a:p>
        </p:txBody>
      </p:sp>
    </p:spTree>
    <p:extLst>
      <p:ext uri="{BB962C8B-B14F-4D97-AF65-F5344CB8AC3E}">
        <p14:creationId xmlns:p14="http://schemas.microsoft.com/office/powerpoint/2010/main" val="19241239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67A725A-9256-4EC5-8CDB-4CC5D97770DD}" type="slidenum">
              <a:rPr lang="de-DE" smtClean="0"/>
              <a:pPr/>
              <a:t>17</a:t>
            </a:fld>
            <a:endParaRPr lang="de-DE" dirty="0"/>
          </a:p>
        </p:txBody>
      </p:sp>
    </p:spTree>
    <p:extLst>
      <p:ext uri="{BB962C8B-B14F-4D97-AF65-F5344CB8AC3E}">
        <p14:creationId xmlns:p14="http://schemas.microsoft.com/office/powerpoint/2010/main" val="490447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67A725A-9256-4EC5-8CDB-4CC5D97770DD}" type="slidenum">
              <a:rPr lang="de-DE" smtClean="0"/>
              <a:pPr/>
              <a:t>18</a:t>
            </a:fld>
            <a:endParaRPr lang="de-DE" dirty="0"/>
          </a:p>
        </p:txBody>
      </p:sp>
    </p:spTree>
    <p:extLst>
      <p:ext uri="{BB962C8B-B14F-4D97-AF65-F5344CB8AC3E}">
        <p14:creationId xmlns:p14="http://schemas.microsoft.com/office/powerpoint/2010/main" val="4904475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67A725A-9256-4EC5-8CDB-4CC5D97770DD}" type="slidenum">
              <a:rPr lang="en-GB" smtClean="0"/>
              <a:pPr/>
              <a:t>19</a:t>
            </a:fld>
            <a:endParaRPr lang="en-GB" dirty="0"/>
          </a:p>
        </p:txBody>
      </p:sp>
    </p:spTree>
    <p:extLst>
      <p:ext uri="{BB962C8B-B14F-4D97-AF65-F5344CB8AC3E}">
        <p14:creationId xmlns:p14="http://schemas.microsoft.com/office/powerpoint/2010/main" val="21956701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F67A725A-9256-4EC5-8CDB-4CC5D97770DD}" type="slidenum">
              <a:rPr lang="en-GB" smtClean="0"/>
              <a:pPr/>
              <a:t>20</a:t>
            </a:fld>
            <a:endParaRPr lang="en-GB" dirty="0"/>
          </a:p>
        </p:txBody>
      </p:sp>
    </p:spTree>
    <p:extLst>
      <p:ext uri="{BB962C8B-B14F-4D97-AF65-F5344CB8AC3E}">
        <p14:creationId xmlns:p14="http://schemas.microsoft.com/office/powerpoint/2010/main" val="33548939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21</a:t>
            </a:fld>
            <a:endParaRPr lang="de-DE" dirty="0"/>
          </a:p>
        </p:txBody>
      </p:sp>
    </p:spTree>
    <p:extLst>
      <p:ext uri="{BB962C8B-B14F-4D97-AF65-F5344CB8AC3E}">
        <p14:creationId xmlns:p14="http://schemas.microsoft.com/office/powerpoint/2010/main" val="1644383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23</a:t>
            </a:fld>
            <a:endParaRPr lang="de-DE" dirty="0"/>
          </a:p>
        </p:txBody>
      </p:sp>
    </p:spTree>
    <p:extLst>
      <p:ext uri="{BB962C8B-B14F-4D97-AF65-F5344CB8AC3E}">
        <p14:creationId xmlns:p14="http://schemas.microsoft.com/office/powerpoint/2010/main" val="889143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24</a:t>
            </a:fld>
            <a:endParaRPr lang="de-DE" dirty="0"/>
          </a:p>
        </p:txBody>
      </p:sp>
    </p:spTree>
    <p:extLst>
      <p:ext uri="{BB962C8B-B14F-4D97-AF65-F5344CB8AC3E}">
        <p14:creationId xmlns:p14="http://schemas.microsoft.com/office/powerpoint/2010/main" val="3275120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67A725A-9256-4EC5-8CDB-4CC5D97770DD}" type="slidenum">
              <a:rPr lang="de-DE" smtClean="0"/>
              <a:pPr/>
              <a:t>2</a:t>
            </a:fld>
            <a:endParaRPr lang="de-DE" dirty="0"/>
          </a:p>
        </p:txBody>
      </p:sp>
    </p:spTree>
    <p:extLst>
      <p:ext uri="{BB962C8B-B14F-4D97-AF65-F5344CB8AC3E}">
        <p14:creationId xmlns:p14="http://schemas.microsoft.com/office/powerpoint/2010/main" val="19921483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25</a:t>
            </a:fld>
            <a:endParaRPr lang="de-DE" dirty="0"/>
          </a:p>
        </p:txBody>
      </p:sp>
    </p:spTree>
    <p:extLst>
      <p:ext uri="{BB962C8B-B14F-4D97-AF65-F5344CB8AC3E}">
        <p14:creationId xmlns:p14="http://schemas.microsoft.com/office/powerpoint/2010/main" val="15085652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26</a:t>
            </a:fld>
            <a:endParaRPr lang="de-DE" dirty="0"/>
          </a:p>
        </p:txBody>
      </p:sp>
    </p:spTree>
    <p:extLst>
      <p:ext uri="{BB962C8B-B14F-4D97-AF65-F5344CB8AC3E}">
        <p14:creationId xmlns:p14="http://schemas.microsoft.com/office/powerpoint/2010/main" val="31458960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27</a:t>
            </a:fld>
            <a:endParaRPr lang="de-DE" dirty="0"/>
          </a:p>
        </p:txBody>
      </p:sp>
    </p:spTree>
    <p:extLst>
      <p:ext uri="{BB962C8B-B14F-4D97-AF65-F5344CB8AC3E}">
        <p14:creationId xmlns:p14="http://schemas.microsoft.com/office/powerpoint/2010/main" val="4122271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28</a:t>
            </a:fld>
            <a:endParaRPr lang="de-DE" dirty="0"/>
          </a:p>
        </p:txBody>
      </p:sp>
    </p:spTree>
    <p:extLst>
      <p:ext uri="{BB962C8B-B14F-4D97-AF65-F5344CB8AC3E}">
        <p14:creationId xmlns:p14="http://schemas.microsoft.com/office/powerpoint/2010/main" val="3753222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29</a:t>
            </a:fld>
            <a:endParaRPr lang="de-DE" dirty="0"/>
          </a:p>
        </p:txBody>
      </p:sp>
    </p:spTree>
    <p:extLst>
      <p:ext uri="{BB962C8B-B14F-4D97-AF65-F5344CB8AC3E}">
        <p14:creationId xmlns:p14="http://schemas.microsoft.com/office/powerpoint/2010/main" val="23953510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31</a:t>
            </a:fld>
            <a:endParaRPr lang="de-DE" dirty="0"/>
          </a:p>
        </p:txBody>
      </p:sp>
    </p:spTree>
    <p:extLst>
      <p:ext uri="{BB962C8B-B14F-4D97-AF65-F5344CB8AC3E}">
        <p14:creationId xmlns:p14="http://schemas.microsoft.com/office/powerpoint/2010/main" val="22073312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32</a:t>
            </a:fld>
            <a:endParaRPr lang="de-DE" dirty="0"/>
          </a:p>
        </p:txBody>
      </p:sp>
    </p:spTree>
    <p:extLst>
      <p:ext uri="{BB962C8B-B14F-4D97-AF65-F5344CB8AC3E}">
        <p14:creationId xmlns:p14="http://schemas.microsoft.com/office/powerpoint/2010/main" val="1348178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33</a:t>
            </a:fld>
            <a:endParaRPr lang="de-DE" dirty="0"/>
          </a:p>
        </p:txBody>
      </p:sp>
    </p:spTree>
    <p:extLst>
      <p:ext uri="{BB962C8B-B14F-4D97-AF65-F5344CB8AC3E}">
        <p14:creationId xmlns:p14="http://schemas.microsoft.com/office/powerpoint/2010/main" val="27330219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34</a:t>
            </a:fld>
            <a:endParaRPr lang="de-DE" dirty="0"/>
          </a:p>
        </p:txBody>
      </p:sp>
    </p:spTree>
    <p:extLst>
      <p:ext uri="{BB962C8B-B14F-4D97-AF65-F5344CB8AC3E}">
        <p14:creationId xmlns:p14="http://schemas.microsoft.com/office/powerpoint/2010/main" val="737760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35</a:t>
            </a:fld>
            <a:endParaRPr lang="de-DE" dirty="0"/>
          </a:p>
        </p:txBody>
      </p:sp>
    </p:spTree>
    <p:extLst>
      <p:ext uri="{BB962C8B-B14F-4D97-AF65-F5344CB8AC3E}">
        <p14:creationId xmlns:p14="http://schemas.microsoft.com/office/powerpoint/2010/main" val="2374085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lang="en-GB" smtClean="0"/>
              <a:pPr/>
              <a:t>3</a:t>
            </a:fld>
            <a:endParaRPr lang="en-GB"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smtClean="0"/>
              <a:pPr algn="r" defTabSz="947738"/>
              <a:t>3</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en-GB" noProof="1">
              <a:cs typeface="Arial" pitchFamily="34" charset="0"/>
            </a:endParaRPr>
          </a:p>
        </p:txBody>
      </p:sp>
    </p:spTree>
    <p:extLst>
      <p:ext uri="{BB962C8B-B14F-4D97-AF65-F5344CB8AC3E}">
        <p14:creationId xmlns:p14="http://schemas.microsoft.com/office/powerpoint/2010/main" val="35137040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36</a:t>
            </a:fld>
            <a:endParaRPr lang="de-DE" dirty="0"/>
          </a:p>
        </p:txBody>
      </p:sp>
    </p:spTree>
    <p:extLst>
      <p:ext uri="{BB962C8B-B14F-4D97-AF65-F5344CB8AC3E}">
        <p14:creationId xmlns:p14="http://schemas.microsoft.com/office/powerpoint/2010/main" val="25284849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37</a:t>
            </a:fld>
            <a:endParaRPr lang="de-DE" dirty="0"/>
          </a:p>
        </p:txBody>
      </p:sp>
    </p:spTree>
    <p:extLst>
      <p:ext uri="{BB962C8B-B14F-4D97-AF65-F5344CB8AC3E}">
        <p14:creationId xmlns:p14="http://schemas.microsoft.com/office/powerpoint/2010/main" val="40458914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5DEF2627-AC66-4D50-9EBE-0947A9B83E48}" type="slidenum">
              <a:rPr lang="en-GB" smtClean="0"/>
              <a:pPr/>
              <a:t>39</a:t>
            </a:fld>
            <a:endParaRPr lang="en-GB" dirty="0"/>
          </a:p>
        </p:txBody>
      </p:sp>
    </p:spTree>
    <p:extLst>
      <p:ext uri="{BB962C8B-B14F-4D97-AF65-F5344CB8AC3E}">
        <p14:creationId xmlns:p14="http://schemas.microsoft.com/office/powerpoint/2010/main" val="9294376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5DEF2627-AC66-4D50-9EBE-0947A9B83E48}" type="slidenum">
              <a:rPr lang="en-GB" smtClean="0"/>
              <a:pPr/>
              <a:t>40</a:t>
            </a:fld>
            <a:endParaRPr lang="en-GB" dirty="0"/>
          </a:p>
        </p:txBody>
      </p:sp>
    </p:spTree>
    <p:extLst>
      <p:ext uri="{BB962C8B-B14F-4D97-AF65-F5344CB8AC3E}">
        <p14:creationId xmlns:p14="http://schemas.microsoft.com/office/powerpoint/2010/main" val="9294376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lang="en-GB" smtClean="0"/>
              <a:pPr/>
              <a:t>41</a:t>
            </a:fld>
            <a:endParaRPr lang="en-GB"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smtClean="0"/>
              <a:pPr algn="r" defTabSz="947738"/>
              <a:t>41</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en-GB" noProof="1">
              <a:cs typeface="Arial" pitchFamily="34" charset="0"/>
            </a:endParaRPr>
          </a:p>
        </p:txBody>
      </p:sp>
    </p:spTree>
    <p:extLst>
      <p:ext uri="{BB962C8B-B14F-4D97-AF65-F5344CB8AC3E}">
        <p14:creationId xmlns:p14="http://schemas.microsoft.com/office/powerpoint/2010/main" val="16686740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lang="en-GB" smtClean="0"/>
              <a:pPr/>
              <a:t>42</a:t>
            </a:fld>
            <a:endParaRPr lang="en-GB"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smtClean="0"/>
              <a:pPr algn="r" defTabSz="947738"/>
              <a:t>42</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en-GB" noProof="1">
              <a:cs typeface="Arial" pitchFamily="34" charset="0"/>
            </a:endParaRPr>
          </a:p>
        </p:txBody>
      </p:sp>
    </p:spTree>
    <p:extLst>
      <p:ext uri="{BB962C8B-B14F-4D97-AF65-F5344CB8AC3E}">
        <p14:creationId xmlns:p14="http://schemas.microsoft.com/office/powerpoint/2010/main" val="20697929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lang="en-GB" smtClean="0"/>
              <a:pPr/>
              <a:t>43</a:t>
            </a:fld>
            <a:endParaRPr lang="en-GB"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smtClean="0"/>
              <a:pPr algn="r" defTabSz="947738"/>
              <a:t>43</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en-GB" noProof="1">
              <a:cs typeface="Arial" pitchFamily="34" charset="0"/>
            </a:endParaRPr>
          </a:p>
        </p:txBody>
      </p:sp>
    </p:spTree>
    <p:extLst>
      <p:ext uri="{BB962C8B-B14F-4D97-AF65-F5344CB8AC3E}">
        <p14:creationId xmlns:p14="http://schemas.microsoft.com/office/powerpoint/2010/main" val="28044014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lang="en-GB" smtClean="0"/>
              <a:pPr/>
              <a:t>44</a:t>
            </a:fld>
            <a:endParaRPr lang="en-GB"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smtClean="0"/>
              <a:pPr algn="r" defTabSz="947738"/>
              <a:t>44</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en-GB" noProof="1">
              <a:cs typeface="Arial" pitchFamily="34" charset="0"/>
            </a:endParaRPr>
          </a:p>
        </p:txBody>
      </p:sp>
    </p:spTree>
    <p:extLst>
      <p:ext uri="{BB962C8B-B14F-4D97-AF65-F5344CB8AC3E}">
        <p14:creationId xmlns:p14="http://schemas.microsoft.com/office/powerpoint/2010/main" val="28774935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67A725A-9256-4EC5-8CDB-4CC5D97770DD}" type="slidenum">
              <a:rPr lang="en-GB" smtClean="0"/>
              <a:pPr/>
              <a:t>45</a:t>
            </a:fld>
            <a:endParaRPr lang="en-GB" dirty="0"/>
          </a:p>
        </p:txBody>
      </p:sp>
    </p:spTree>
    <p:extLst>
      <p:ext uri="{BB962C8B-B14F-4D97-AF65-F5344CB8AC3E}">
        <p14:creationId xmlns:p14="http://schemas.microsoft.com/office/powerpoint/2010/main" val="617704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67A725A-9256-4EC5-8CDB-4CC5D97770DD}" type="slidenum">
              <a:rPr lang="en-GB" smtClean="0"/>
              <a:pPr/>
              <a:t>46</a:t>
            </a:fld>
            <a:endParaRPr lang="en-GB" dirty="0"/>
          </a:p>
        </p:txBody>
      </p:sp>
    </p:spTree>
    <p:extLst>
      <p:ext uri="{BB962C8B-B14F-4D97-AF65-F5344CB8AC3E}">
        <p14:creationId xmlns:p14="http://schemas.microsoft.com/office/powerpoint/2010/main" val="1033705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lang="en-GB" smtClean="0"/>
              <a:pPr/>
              <a:t>5</a:t>
            </a:fld>
            <a:endParaRPr lang="en-GB"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smtClean="0"/>
              <a:pPr algn="r" defTabSz="947738"/>
              <a:t>5</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en-GB" noProof="1">
              <a:cs typeface="Arial" pitchFamily="34" charset="0"/>
            </a:endParaRPr>
          </a:p>
        </p:txBody>
      </p:sp>
    </p:spTree>
    <p:extLst>
      <p:ext uri="{BB962C8B-B14F-4D97-AF65-F5344CB8AC3E}">
        <p14:creationId xmlns:p14="http://schemas.microsoft.com/office/powerpoint/2010/main" val="25995452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67A725A-9256-4EC5-8CDB-4CC5D97770DD}" type="slidenum">
              <a:rPr lang="en-GB" smtClean="0"/>
              <a:pPr/>
              <a:t>47</a:t>
            </a:fld>
            <a:endParaRPr lang="en-GB" dirty="0"/>
          </a:p>
        </p:txBody>
      </p:sp>
    </p:spTree>
    <p:extLst>
      <p:ext uri="{BB962C8B-B14F-4D97-AF65-F5344CB8AC3E}">
        <p14:creationId xmlns:p14="http://schemas.microsoft.com/office/powerpoint/2010/main" val="10337057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F7DF2D5-053D-4BC5-BCE8-0BA0F9D39CAA}" type="slidenum">
              <a:rPr lang="en-GB" smtClean="0"/>
              <a:pPr/>
              <a:t>48</a:t>
            </a:fld>
            <a:endParaRPr lang="en-GB" dirty="0"/>
          </a:p>
        </p:txBody>
      </p:sp>
      <p:sp>
        <p:nvSpPr>
          <p:cNvPr id="205826" name="Rectangle 2"/>
          <p:cNvSpPr>
            <a:spLocks noGrp="1" noRot="1" noChangeAspect="1" noChangeArrowheads="1" noTextEdit="1"/>
          </p:cNvSpPr>
          <p:nvPr>
            <p:ph type="sldImg"/>
          </p:nvPr>
        </p:nvSpPr>
        <p:spPr>
          <a:xfrm>
            <a:off x="2449513" y="550863"/>
            <a:ext cx="4881562" cy="2746375"/>
          </a:xfrm>
          <a:ln/>
        </p:spPr>
      </p:sp>
      <p:sp>
        <p:nvSpPr>
          <p:cNvPr id="205827" name="Rectangle 3"/>
          <p:cNvSpPr>
            <a:spLocks noGrp="1" noChangeArrowheads="1"/>
          </p:cNvSpPr>
          <p:nvPr>
            <p:ph type="body" idx="1"/>
          </p:nvPr>
        </p:nvSpPr>
        <p:spPr>
          <a:xfrm>
            <a:off x="977764" y="3481343"/>
            <a:ext cx="7830947" cy="3296404"/>
          </a:xfrm>
          <a:ln/>
        </p:spPr>
        <p:txBody>
          <a:bodyPr/>
          <a:lstStyle/>
          <a:p>
            <a:endParaRPr lang="en-GB" dirty="0"/>
          </a:p>
        </p:txBody>
      </p:sp>
    </p:spTree>
    <p:extLst>
      <p:ext uri="{BB962C8B-B14F-4D97-AF65-F5344CB8AC3E}">
        <p14:creationId xmlns:p14="http://schemas.microsoft.com/office/powerpoint/2010/main" val="2341558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F67A725A-9256-4EC5-8CDB-4CC5D97770DD}" type="slidenum">
              <a:rPr lang="en-GB" smtClean="0"/>
              <a:pPr/>
              <a:t>49</a:t>
            </a:fld>
            <a:endParaRPr lang="en-GB" dirty="0"/>
          </a:p>
        </p:txBody>
      </p:sp>
    </p:spTree>
    <p:extLst>
      <p:ext uri="{BB962C8B-B14F-4D97-AF65-F5344CB8AC3E}">
        <p14:creationId xmlns:p14="http://schemas.microsoft.com/office/powerpoint/2010/main" val="1558706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lang="en-GB" smtClean="0"/>
              <a:pPr/>
              <a:t>6</a:t>
            </a:fld>
            <a:endParaRPr lang="en-GB"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smtClean="0"/>
              <a:pPr algn="r" defTabSz="947738"/>
              <a:t>6</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en-GB" noProof="1">
              <a:cs typeface="Arial" pitchFamily="34" charset="0"/>
            </a:endParaRPr>
          </a:p>
        </p:txBody>
      </p:sp>
    </p:spTree>
    <p:extLst>
      <p:ext uri="{BB962C8B-B14F-4D97-AF65-F5344CB8AC3E}">
        <p14:creationId xmlns:p14="http://schemas.microsoft.com/office/powerpoint/2010/main" val="1595841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67A725A-9256-4EC5-8CDB-4CC5D97770DD}" type="slidenum">
              <a:rPr lang="en-GB" smtClean="0"/>
              <a:pPr/>
              <a:t>7</a:t>
            </a:fld>
            <a:endParaRPr lang="en-GB" dirty="0"/>
          </a:p>
        </p:txBody>
      </p:sp>
    </p:spTree>
    <p:extLst>
      <p:ext uri="{BB962C8B-B14F-4D97-AF65-F5344CB8AC3E}">
        <p14:creationId xmlns:p14="http://schemas.microsoft.com/office/powerpoint/2010/main" val="374976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845B7A2B-9D63-4AB1-9A7A-EE5F31796489}" type="slidenum">
              <a:rPr lang="de-DE" smtClean="0"/>
              <a:pPr/>
              <a:t>8</a:t>
            </a:fld>
            <a:endParaRPr lang="de-DE" dirty="0"/>
          </a:p>
        </p:txBody>
      </p:sp>
    </p:spTree>
    <p:extLst>
      <p:ext uri="{BB962C8B-B14F-4D97-AF65-F5344CB8AC3E}">
        <p14:creationId xmlns:p14="http://schemas.microsoft.com/office/powerpoint/2010/main" val="4052328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67A725A-9256-4EC5-8CDB-4CC5D97770DD}" type="slidenum">
              <a:rPr lang="de-DE" smtClean="0"/>
              <a:pPr/>
              <a:t>9</a:t>
            </a:fld>
            <a:endParaRPr lang="de-DE" dirty="0"/>
          </a:p>
        </p:txBody>
      </p:sp>
    </p:spTree>
    <p:extLst>
      <p:ext uri="{BB962C8B-B14F-4D97-AF65-F5344CB8AC3E}">
        <p14:creationId xmlns:p14="http://schemas.microsoft.com/office/powerpoint/2010/main" val="2009201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F67A725A-9256-4EC5-8CDB-4CC5D97770DD}" type="slidenum">
              <a:rPr lang="en-GB" smtClean="0"/>
              <a:pPr/>
              <a:t>13</a:t>
            </a:fld>
            <a:endParaRPr lang="en-GB" dirty="0"/>
          </a:p>
        </p:txBody>
      </p:sp>
    </p:spTree>
    <p:extLst>
      <p:ext uri="{BB962C8B-B14F-4D97-AF65-F5344CB8AC3E}">
        <p14:creationId xmlns:p14="http://schemas.microsoft.com/office/powerpoint/2010/main" val="29494343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Full Are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701C665-C272-490E-8A21-0107CBA54ED1}"/>
              </a:ext>
            </a:extLst>
          </p:cNvPr>
          <p:cNvGraphicFramePr>
            <a:graphicFrameLocks noChangeAspect="1"/>
          </p:cNvGraphicFramePr>
          <p:nvPr userDrawn="1">
            <p:custDataLst>
              <p:tags r:id="rId1"/>
            </p:custDataLst>
            <p:extLst>
              <p:ext uri="{D42A27DB-BD31-4B8C-83A1-F6EECF244321}">
                <p14:modId xmlns:p14="http://schemas.microsoft.com/office/powerpoint/2010/main" val="4040579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8" name="Objekt 7" hidden="1">
                        <a:extLst>
                          <a:ext uri="{FF2B5EF4-FFF2-40B4-BE49-F238E27FC236}">
                            <a16:creationId xmlns:a16="http://schemas.microsoft.com/office/drawing/2014/main" id="{E701C665-C272-490E-8A21-0107CBA54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E0EF039-EC0F-446F-B82A-2FB6C817C8AF}"/>
              </a:ext>
            </a:extLst>
          </p:cNvPr>
          <p:cNvSpPr>
            <a:spLocks noGrp="1"/>
          </p:cNvSpPr>
          <p:nvPr>
            <p:ph type="pic" sz="quarter" idx="21" hasCustomPrompt="1"/>
          </p:nvPr>
        </p:nvSpPr>
        <p:spPr>
          <a:xfrm>
            <a:off x="0" y="0"/>
            <a:ext cx="12192000" cy="6572262"/>
          </a:xfrm>
          <a:gradFill>
            <a:gsLst>
              <a:gs pos="1000">
                <a:schemeClr val="tx2"/>
              </a:gs>
              <a:gs pos="100000">
                <a:schemeClr val="tx2">
                  <a:lumMod val="50000"/>
                </a:schemeClr>
              </a:gs>
            </a:gsLst>
            <a:lin ang="5400000" scaled="0"/>
          </a:gradFill>
        </p:spPr>
        <p:txBody>
          <a:bodyPr/>
          <a:lstStyle>
            <a:lvl1pPr marL="0" indent="0" rtl="0">
              <a:lnSpc>
                <a:spcPct val="100000"/>
              </a:lnSpc>
              <a:spcAft>
                <a:spcPts val="600"/>
              </a:spcAft>
              <a:buNone/>
              <a:defRPr/>
            </a:lvl1pPr>
          </a:lstStyle>
          <a:p>
            <a:r>
              <a:rPr lang="de-DE" noProof="0" dirty="0"/>
              <a:t> </a:t>
            </a:r>
          </a:p>
        </p:txBody>
      </p:sp>
      <p:sp>
        <p:nvSpPr>
          <p:cNvPr id="14" name="Textplatzhalter 14">
            <a:extLst>
              <a:ext uri="{FF2B5EF4-FFF2-40B4-BE49-F238E27FC236}">
                <a16:creationId xmlns:a16="http://schemas.microsoft.com/office/drawing/2014/main" id="{88DEDB73-663D-4E69-BA2A-A35D3F0824E9}"/>
              </a:ext>
            </a:extLst>
          </p:cNvPr>
          <p:cNvSpPr>
            <a:spLocks noGrp="1"/>
          </p:cNvSpPr>
          <p:nvPr>
            <p:ph type="body" sz="quarter" idx="22" hasCustomPrompt="1"/>
          </p:nvPr>
        </p:nvSpPr>
        <p:spPr>
          <a:xfrm>
            <a:off x="9537701" y="5887328"/>
            <a:ext cx="2654300" cy="419100"/>
          </a:xfrm>
          <a:custGeom>
            <a:avLst/>
            <a:gdLst>
              <a:gd name="connsiteX0" fmla="*/ 262299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125" h="363401">
                <a:moveTo>
                  <a:pt x="203807" y="0"/>
                </a:moveTo>
                <a:lnTo>
                  <a:pt x="1762125" y="0"/>
                </a:lnTo>
                <a:lnTo>
                  <a:pt x="1762125" y="363401"/>
                </a:lnTo>
                <a:lnTo>
                  <a:pt x="0" y="363401"/>
                </a:lnTo>
                <a:lnTo>
                  <a:pt x="203807" y="0"/>
                </a:lnTo>
                <a:close/>
              </a:path>
            </a:pathLst>
          </a:custGeom>
          <a:solidFill>
            <a:schemeClr val="tx2"/>
          </a:solidFill>
          <a:ln w="19050">
            <a:noFill/>
            <a:miter lim="800000"/>
          </a:ln>
          <a:effectLst>
            <a:outerShdw dist="25400" dir="14400000" algn="b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432054" tIns="72000" rIns="504000" bIns="72000" rtlCol="0" anchor="ctr" anchorCtr="0">
            <a:noAutofit/>
          </a:bodyPr>
          <a:lstStyle>
            <a:lvl1pPr marL="0" indent="0" rtl="0">
              <a:spcAft>
                <a:spcPts val="0"/>
              </a:spcAft>
              <a:buFontTx/>
              <a:buNone/>
              <a:defRPr lang="de-DE" sz="1800" dirty="0">
                <a:solidFill>
                  <a:schemeClr val="bg1"/>
                </a:solidFill>
              </a:defRPr>
            </a:lvl1pPr>
          </a:lstStyle>
          <a:p>
            <a:pPr marL="0" lvl="0"/>
            <a:r>
              <a:rPr lang="de-DE" dirty="0" err="1"/>
              <a:t>Dept</a:t>
            </a:r>
            <a:r>
              <a:rPr lang="de-DE" dirty="0"/>
              <a:t>.</a:t>
            </a:r>
          </a:p>
        </p:txBody>
      </p:sp>
      <p:sp>
        <p:nvSpPr>
          <p:cNvPr id="2" name="Titel 1"/>
          <p:cNvSpPr>
            <a:spLocks noGrp="1"/>
          </p:cNvSpPr>
          <p:nvPr>
            <p:ph type="ctrTitle" hasCustomPrompt="1"/>
          </p:nvPr>
        </p:nvSpPr>
        <p:spPr>
          <a:xfrm>
            <a:off x="0" y="3837978"/>
            <a:ext cx="12192000" cy="1376513"/>
          </a:xfrm>
          <a:noFill/>
        </p:spPr>
        <p:txBody>
          <a:bodyPr vert="horz" wrap="square" lIns="572400" tIns="72000" rIns="572400" bIns="72000" anchor="b">
            <a:spAutoFit/>
          </a:bodyPr>
          <a:lstStyle>
            <a:lvl1pPr algn="l" rtl="0">
              <a:lnSpc>
                <a:spcPct val="100000"/>
              </a:lnSpc>
              <a:spcAft>
                <a:spcPts val="0"/>
              </a:spcAft>
              <a:defRPr sz="4000" cap="all" baseline="0">
                <a:solidFill>
                  <a:schemeClr val="bg1"/>
                </a:solidFill>
                <a:latin typeface="+mj-lt"/>
              </a:defRPr>
            </a:lvl1pPr>
          </a:lstStyle>
          <a:p>
            <a:r>
              <a:rPr lang="de-DE" noProof="0" dirty="0" err="1"/>
              <a:t>presentation</a:t>
            </a:r>
            <a:r>
              <a:rPr lang="de-DE" noProof="0" dirty="0"/>
              <a:t> title, </a:t>
            </a:r>
            <a:r>
              <a:rPr lang="de-DE" noProof="0" dirty="0" err="1"/>
              <a:t>two</a:t>
            </a:r>
            <a:r>
              <a:rPr lang="de-DE" noProof="0" dirty="0"/>
              <a:t> </a:t>
            </a:r>
            <a:r>
              <a:rPr lang="de-DE" noProof="0" dirty="0" err="1"/>
              <a:t>lines</a:t>
            </a:r>
            <a:r>
              <a:rPr lang="de-DE" noProof="0" dirty="0"/>
              <a:t> maximum.</a:t>
            </a:r>
            <a:br>
              <a:rPr lang="de-DE" noProof="0" dirty="0"/>
            </a:br>
            <a:r>
              <a:rPr lang="de-DE" noProof="0" dirty="0" err="1"/>
              <a:t>text</a:t>
            </a:r>
            <a:r>
              <a:rPr lang="de-DE" noProof="0" dirty="0"/>
              <a:t> </a:t>
            </a:r>
            <a:r>
              <a:rPr lang="de-DE" noProof="0" dirty="0" err="1"/>
              <a:t>can</a:t>
            </a:r>
            <a:r>
              <a:rPr lang="de-DE" noProof="0" dirty="0"/>
              <a:t> </a:t>
            </a:r>
            <a:r>
              <a:rPr lang="de-DE" noProof="0" dirty="0" err="1"/>
              <a:t>be</a:t>
            </a:r>
            <a:r>
              <a:rPr lang="de-DE" noProof="0" dirty="0"/>
              <a:t> </a:t>
            </a:r>
            <a:r>
              <a:rPr lang="de-DE" noProof="0" dirty="0" err="1"/>
              <a:t>moved</a:t>
            </a:r>
            <a:r>
              <a:rPr lang="de-DE" noProof="0" dirty="0"/>
              <a:t> </a:t>
            </a:r>
            <a:r>
              <a:rPr lang="de-DE" noProof="0" dirty="0" err="1"/>
              <a:t>vertically</a:t>
            </a:r>
            <a:r>
              <a:rPr lang="de-DE" noProof="0" dirty="0"/>
              <a:t>.</a:t>
            </a:r>
          </a:p>
        </p:txBody>
      </p:sp>
      <p:sp>
        <p:nvSpPr>
          <p:cNvPr id="3" name="Untertitel 2"/>
          <p:cNvSpPr>
            <a:spLocks noGrp="1"/>
          </p:cNvSpPr>
          <p:nvPr>
            <p:ph type="subTitle" idx="1" hasCustomPrompt="1"/>
          </p:nvPr>
        </p:nvSpPr>
        <p:spPr>
          <a:xfrm>
            <a:off x="0" y="5311365"/>
            <a:ext cx="12192000" cy="453183"/>
          </a:xfrm>
          <a:prstGeom prst="rect">
            <a:avLst/>
          </a:prstGeom>
          <a:noFill/>
        </p:spPr>
        <p:txBody>
          <a:bodyPr wrap="square" lIns="572400" tIns="72000" rIns="572400" bIns="72000">
            <a:spAutoFit/>
          </a:bodyPr>
          <a:lstStyle>
            <a:lvl1pPr marL="0" indent="0" algn="l" rtl="0">
              <a:lnSpc>
                <a:spcPct val="100000"/>
              </a:lnSpc>
              <a:spcAft>
                <a:spcPts val="0"/>
              </a:spcAft>
              <a:buNone/>
              <a:defRPr sz="20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err="1"/>
              <a:t>SubTitle</a:t>
            </a:r>
            <a:r>
              <a:rPr lang="de-DE" noProof="0" dirty="0"/>
              <a:t>, </a:t>
            </a:r>
            <a:r>
              <a:rPr lang="de-DE" noProof="0" dirty="0" err="1"/>
              <a:t>two</a:t>
            </a:r>
            <a:r>
              <a:rPr lang="de-DE" noProof="0" dirty="0"/>
              <a:t> </a:t>
            </a:r>
            <a:r>
              <a:rPr lang="de-DE" noProof="0" dirty="0" err="1"/>
              <a:t>lines</a:t>
            </a:r>
            <a:r>
              <a:rPr lang="de-DE" noProof="0" dirty="0"/>
              <a:t> maximum.</a:t>
            </a:r>
          </a:p>
        </p:txBody>
      </p:sp>
      <p:sp>
        <p:nvSpPr>
          <p:cNvPr id="4" name="Rechteck 3">
            <a:extLst>
              <a:ext uri="{FF2B5EF4-FFF2-40B4-BE49-F238E27FC236}">
                <a16:creationId xmlns:a16="http://schemas.microsoft.com/office/drawing/2014/main" id="{80CB0C39-08AA-4426-8A4E-7E12C8490019}"/>
              </a:ext>
            </a:extLst>
          </p:cNvPr>
          <p:cNvSpPr/>
          <p:nvPr userDrawn="1"/>
        </p:nvSpPr>
        <p:spPr>
          <a:xfrm>
            <a:off x="0" y="6608189"/>
            <a:ext cx="4438650" cy="24981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de-DE" dirty="0">
              <a:solidFill>
                <a:schemeClr val="tx1"/>
              </a:solidFill>
            </a:endParaRPr>
          </a:p>
        </p:txBody>
      </p:sp>
      <p:sp>
        <p:nvSpPr>
          <p:cNvPr id="10" name="Rechteck 9">
            <a:extLst>
              <a:ext uri="{FF2B5EF4-FFF2-40B4-BE49-F238E27FC236}">
                <a16:creationId xmlns:a16="http://schemas.microsoft.com/office/drawing/2014/main" id="{C5F73C73-03C7-4379-819D-B4063D83DBA8}"/>
              </a:ext>
            </a:extLst>
          </p:cNvPr>
          <p:cNvSpPr/>
          <p:nvPr userDrawn="1"/>
        </p:nvSpPr>
        <p:spPr>
          <a:xfrm>
            <a:off x="7753350" y="6608189"/>
            <a:ext cx="4438650" cy="24981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de-DE" dirty="0">
              <a:solidFill>
                <a:schemeClr val="tx1"/>
              </a:solidFill>
            </a:endParaRPr>
          </a:p>
        </p:txBody>
      </p:sp>
      <p:sp>
        <p:nvSpPr>
          <p:cNvPr id="17" name="SmartArt-Platzhalter 6">
            <a:extLst>
              <a:ext uri="{FF2B5EF4-FFF2-40B4-BE49-F238E27FC236}">
                <a16:creationId xmlns:a16="http://schemas.microsoft.com/office/drawing/2014/main" id="{BEF5298C-10DE-4459-A25C-6BF3ABC562A5}"/>
              </a:ext>
            </a:extLst>
          </p:cNvPr>
          <p:cNvSpPr>
            <a:spLocks noGrp="1" noChangeAspect="1"/>
          </p:cNvSpPr>
          <p:nvPr>
            <p:ph type="dgm" sz="quarter" idx="24" hasCustomPrompt="1"/>
          </p:nvPr>
        </p:nvSpPr>
        <p:spPr>
          <a:xfrm>
            <a:off x="572400" y="572399"/>
            <a:ext cx="1099906" cy="572400"/>
          </a:xfr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a:lstStyle>
            <a:lvl1pPr marL="0" indent="0" rtl="0">
              <a:buNone/>
              <a:defRPr sz="400">
                <a:solidFill>
                  <a:schemeClr val="tx2"/>
                </a:solidFill>
              </a:defRPr>
            </a:lvl1pPr>
          </a:lstStyle>
          <a:p>
            <a:r>
              <a:rPr lang="de-DE" dirty="0"/>
              <a:t>.</a:t>
            </a:r>
          </a:p>
        </p:txBody>
      </p:sp>
      <p:sp>
        <p:nvSpPr>
          <p:cNvPr id="18" name="SmartArt-Platzhalter 4">
            <a:extLst>
              <a:ext uri="{FF2B5EF4-FFF2-40B4-BE49-F238E27FC236}">
                <a16:creationId xmlns:a16="http://schemas.microsoft.com/office/drawing/2014/main" id="{FCCF42BF-D9E0-4820-BABA-DAF1A43D227B}"/>
              </a:ext>
            </a:extLst>
          </p:cNvPr>
          <p:cNvSpPr>
            <a:spLocks noGrp="1" noChangeAspect="1"/>
          </p:cNvSpPr>
          <p:nvPr>
            <p:ph type="dgm" sz="quarter" idx="23" hasCustomPrompt="1"/>
          </p:nvPr>
        </p:nvSpPr>
        <p:spPr>
          <a:xfrm>
            <a:off x="9947294" y="572400"/>
            <a:ext cx="1672306" cy="572400"/>
          </a:xfr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txBody>
          <a:bodyPr/>
          <a:lstStyle>
            <a:lvl1pPr marL="0" indent="0" rtl="0">
              <a:buNone/>
              <a:defRPr sz="400">
                <a:solidFill>
                  <a:schemeClr val="tx2"/>
                </a:solidFill>
              </a:defRPr>
            </a:lvl1pPr>
          </a:lstStyle>
          <a:p>
            <a:r>
              <a:rPr lang="de-DE" dirty="0"/>
              <a:t>.</a:t>
            </a:r>
          </a:p>
        </p:txBody>
      </p:sp>
    </p:spTree>
    <p:extLst>
      <p:ext uri="{BB962C8B-B14F-4D97-AF65-F5344CB8AC3E}">
        <p14:creationId xmlns:p14="http://schemas.microsoft.com/office/powerpoint/2010/main" val="1590156026"/>
      </p:ext>
    </p:extLst>
  </p:cSld>
  <p:clrMapOvr>
    <a:masterClrMapping/>
  </p:clrMapOvr>
  <p:extLst>
    <p:ext uri="{DCECCB84-F9BA-43D5-87BE-67443E8EF086}">
      <p15:sldGuideLst xmlns:p15="http://schemas.microsoft.com/office/powerpoint/2012/main">
        <p15:guide id="1" pos="359" userDrawn="1">
          <p15:clr>
            <a:srgbClr val="FBAE40"/>
          </p15:clr>
        </p15:guide>
        <p15:guide id="2" pos="73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7C54160-9C46-4866-882D-50B5C096B17C}"/>
              </a:ext>
            </a:extLst>
          </p:cNvPr>
          <p:cNvGraphicFramePr>
            <a:graphicFrameLocks noChangeAspect="1"/>
          </p:cNvGraphicFramePr>
          <p:nvPr userDrawn="1">
            <p:custDataLst>
              <p:tags r:id="rId1"/>
            </p:custDataLst>
            <p:extLst>
              <p:ext uri="{D42A27DB-BD31-4B8C-83A1-F6EECF244321}">
                <p14:modId xmlns:p14="http://schemas.microsoft.com/office/powerpoint/2010/main" val="3487701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F7C54160-9C46-4866-882D-50B5C096B1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Inhaltsplatzhalter 3">
            <a:extLst>
              <a:ext uri="{FF2B5EF4-FFF2-40B4-BE49-F238E27FC236}">
                <a16:creationId xmlns:a16="http://schemas.microsoft.com/office/drawing/2014/main" id="{3988BB4E-F1CA-4BC0-993D-C218662BA852}"/>
              </a:ext>
            </a:extLst>
          </p:cNvPr>
          <p:cNvSpPr>
            <a:spLocks noGrp="1"/>
          </p:cNvSpPr>
          <p:nvPr>
            <p:ph sz="quarter" idx="21" hasCustomPrompt="1"/>
          </p:nvPr>
        </p:nvSpPr>
        <p:spPr>
          <a:xfrm>
            <a:off x="8116069"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2">
            <a:extLst>
              <a:ext uri="{FF2B5EF4-FFF2-40B4-BE49-F238E27FC236}">
                <a16:creationId xmlns:a16="http://schemas.microsoft.com/office/drawing/2014/main" id="{0D7FB171-0CB4-4740-8625-DD15BF1FF8DA}"/>
              </a:ext>
            </a:extLst>
          </p:cNvPr>
          <p:cNvSpPr>
            <a:spLocks noGrp="1"/>
          </p:cNvSpPr>
          <p:nvPr>
            <p:ph sz="quarter" idx="19" hasCustomPrompt="1"/>
          </p:nvPr>
        </p:nvSpPr>
        <p:spPr>
          <a:xfrm>
            <a:off x="4302508"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6" name="Inhaltsplatzhalter 1">
            <a:extLst>
              <a:ext uri="{FF2B5EF4-FFF2-40B4-BE49-F238E27FC236}">
                <a16:creationId xmlns:a16="http://schemas.microsoft.com/office/drawing/2014/main" id="{51462A60-9CA1-461B-A29A-E91D63B6095E}"/>
              </a:ext>
            </a:extLst>
          </p:cNvPr>
          <p:cNvSpPr>
            <a:spLocks noGrp="1"/>
          </p:cNvSpPr>
          <p:nvPr>
            <p:ph sz="quarter" idx="17" hasCustomPrompt="1"/>
          </p:nvPr>
        </p:nvSpPr>
        <p:spPr>
          <a:xfrm>
            <a:off x="488947"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60506027"/>
      </p:ext>
    </p:extLst>
  </p:cSld>
  <p:clrMapOvr>
    <a:masterClrMapping/>
  </p:clrMapOvr>
  <p:extLst>
    <p:ext uri="{DCECCB84-F9BA-43D5-87BE-67443E8EF086}">
      <p15:sldGuideLst xmlns:p15="http://schemas.microsoft.com/office/powerpoint/2012/main">
        <p15:guide id="1" pos="2577" userDrawn="1">
          <p15:clr>
            <a:srgbClr val="FBAE40"/>
          </p15:clr>
        </p15:guide>
        <p15:guide id="4" pos="4978" userDrawn="1">
          <p15:clr>
            <a:srgbClr val="FBAE40"/>
          </p15:clr>
        </p15:guide>
        <p15:guide id="5" pos="2710" userDrawn="1">
          <p15:clr>
            <a:srgbClr val="FBAE40"/>
          </p15:clr>
        </p15:guide>
        <p15:guide id="6" pos="511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562CC6E-EDA2-4F9E-A09B-A2E54AB188C9}"/>
              </a:ext>
            </a:extLst>
          </p:cNvPr>
          <p:cNvGraphicFramePr>
            <a:graphicFrameLocks noChangeAspect="1"/>
          </p:cNvGraphicFramePr>
          <p:nvPr userDrawn="1">
            <p:custDataLst>
              <p:tags r:id="rId1"/>
            </p:custDataLst>
            <p:extLst>
              <p:ext uri="{D42A27DB-BD31-4B8C-83A1-F6EECF244321}">
                <p14:modId xmlns:p14="http://schemas.microsoft.com/office/powerpoint/2010/main" val="95872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2562CC6E-EDA2-4F9E-A09B-A2E54AB188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Inhaltsplatzhalter 4">
            <a:extLst>
              <a:ext uri="{FF2B5EF4-FFF2-40B4-BE49-F238E27FC236}">
                <a16:creationId xmlns:a16="http://schemas.microsoft.com/office/drawing/2014/main" id="{8BA2F5EE-5EBD-4514-8AF6-B05EC345392F}"/>
              </a:ext>
            </a:extLst>
          </p:cNvPr>
          <p:cNvSpPr>
            <a:spLocks noGrp="1"/>
          </p:cNvSpPr>
          <p:nvPr>
            <p:ph sz="quarter" idx="23" hasCustomPrompt="1"/>
          </p:nvPr>
        </p:nvSpPr>
        <p:spPr>
          <a:xfrm>
            <a:off x="9069460"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2" name="Inhaltsplatzhalter 3">
            <a:extLst>
              <a:ext uri="{FF2B5EF4-FFF2-40B4-BE49-F238E27FC236}">
                <a16:creationId xmlns:a16="http://schemas.microsoft.com/office/drawing/2014/main" id="{60EC06ED-6F07-4680-9AE2-23D7698B36DA}"/>
              </a:ext>
            </a:extLst>
          </p:cNvPr>
          <p:cNvSpPr>
            <a:spLocks noGrp="1"/>
          </p:cNvSpPr>
          <p:nvPr>
            <p:ph sz="quarter" idx="21" hasCustomPrompt="1"/>
          </p:nvPr>
        </p:nvSpPr>
        <p:spPr>
          <a:xfrm>
            <a:off x="6209289"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0" name="Inhaltsplatzhalter 2">
            <a:extLst>
              <a:ext uri="{FF2B5EF4-FFF2-40B4-BE49-F238E27FC236}">
                <a16:creationId xmlns:a16="http://schemas.microsoft.com/office/drawing/2014/main" id="{027E4EC2-9005-40D4-918C-FD11293AE431}"/>
              </a:ext>
            </a:extLst>
          </p:cNvPr>
          <p:cNvSpPr>
            <a:spLocks noGrp="1"/>
          </p:cNvSpPr>
          <p:nvPr>
            <p:ph sz="quarter" idx="19" hasCustomPrompt="1"/>
          </p:nvPr>
        </p:nvSpPr>
        <p:spPr>
          <a:xfrm>
            <a:off x="3349118"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1">
            <a:extLst>
              <a:ext uri="{FF2B5EF4-FFF2-40B4-BE49-F238E27FC236}">
                <a16:creationId xmlns:a16="http://schemas.microsoft.com/office/drawing/2014/main" id="{CD857AE5-6C50-432B-94B7-EC5D4821331B}"/>
              </a:ext>
            </a:extLst>
          </p:cNvPr>
          <p:cNvSpPr>
            <a:spLocks noGrp="1"/>
          </p:cNvSpPr>
          <p:nvPr>
            <p:ph sz="quarter" idx="17" hasCustomPrompt="1"/>
          </p:nvPr>
        </p:nvSpPr>
        <p:spPr>
          <a:xfrm>
            <a:off x="488947"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634068447"/>
      </p:ext>
    </p:extLst>
  </p:cSld>
  <p:clrMapOvr>
    <a:masterClrMapping/>
  </p:clrMapOvr>
  <p:extLst>
    <p:ext uri="{DCECCB84-F9BA-43D5-87BE-67443E8EF086}">
      <p15:sldGuideLst xmlns:p15="http://schemas.microsoft.com/office/powerpoint/2012/main">
        <p15:guide id="6" pos="5705" userDrawn="1">
          <p15:clr>
            <a:srgbClr val="FBAE40"/>
          </p15:clr>
        </p15:guide>
        <p15:guide id="7" pos="1977" userDrawn="1">
          <p15:clr>
            <a:srgbClr val="FBAE40"/>
          </p15:clr>
        </p15:guide>
        <p15:guide id="8" pos="2104" userDrawn="1">
          <p15:clr>
            <a:srgbClr val="FBAE40"/>
          </p15:clr>
        </p15:guide>
        <p15:guide id="9" pos="3777" userDrawn="1">
          <p15:clr>
            <a:srgbClr val="FBAE40"/>
          </p15:clr>
        </p15:guide>
        <p15:guide id="10" pos="3905" userDrawn="1">
          <p15:clr>
            <a:srgbClr val="FBAE40"/>
          </p15:clr>
        </p15:guide>
        <p15:guide id="11" pos="557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 2x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8D39B1E-A015-4084-940D-8BBABCAACD8C}"/>
              </a:ext>
            </a:extLst>
          </p:cNvPr>
          <p:cNvGraphicFramePr>
            <a:graphicFrameLocks noChangeAspect="1"/>
          </p:cNvGraphicFramePr>
          <p:nvPr userDrawn="1">
            <p:custDataLst>
              <p:tags r:id="rId1"/>
            </p:custDataLst>
            <p:extLst>
              <p:ext uri="{D42A27DB-BD31-4B8C-83A1-F6EECF244321}">
                <p14:modId xmlns:p14="http://schemas.microsoft.com/office/powerpoint/2010/main" val="4041382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78D39B1E-A015-4084-940D-8BBABCAA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Inhaltsplatzhalter 4"/>
          <p:cNvSpPr>
            <a:spLocks noGrp="1"/>
          </p:cNvSpPr>
          <p:nvPr>
            <p:ph sz="quarter" idx="13" hasCustomPrompt="1"/>
          </p:nvPr>
        </p:nvSpPr>
        <p:spPr>
          <a:xfrm>
            <a:off x="6317289"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8" name="Inhaltsplatzhalter 3"/>
          <p:cNvSpPr>
            <a:spLocks noGrp="1"/>
          </p:cNvSpPr>
          <p:nvPr>
            <p:ph sz="quarter" idx="12" hasCustomPrompt="1"/>
          </p:nvPr>
        </p:nvSpPr>
        <p:spPr>
          <a:xfrm>
            <a:off x="488947"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Inhaltsplatzhalter 2"/>
          <p:cNvSpPr>
            <a:spLocks noGrp="1"/>
          </p:cNvSpPr>
          <p:nvPr>
            <p:ph sz="quarter" idx="11" hasCustomPrompt="1"/>
          </p:nvPr>
        </p:nvSpPr>
        <p:spPr>
          <a:xfrm>
            <a:off x="6317289"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Inhaltsplatzhalter 1"/>
          <p:cNvSpPr>
            <a:spLocks noGrp="1"/>
          </p:cNvSpPr>
          <p:nvPr>
            <p:ph sz="quarter" idx="10" hasCustomPrompt="1"/>
          </p:nvPr>
        </p:nvSpPr>
        <p:spPr>
          <a:xfrm>
            <a:off x="488947"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97895428"/>
      </p:ext>
    </p:extLst>
  </p:cSld>
  <p:clrMapOvr>
    <a:masterClrMapping/>
  </p:clrMapOvr>
  <p:extLst>
    <p:ext uri="{DCECCB84-F9BA-43D5-87BE-67443E8EF086}">
      <p15:sldGuideLst xmlns:p15="http://schemas.microsoft.com/office/powerpoint/2012/main">
        <p15:guide id="13" pos="3711" userDrawn="1">
          <p15:clr>
            <a:srgbClr val="FBAE40"/>
          </p15:clr>
        </p15:guide>
        <p15:guide id="14" pos="3977" userDrawn="1">
          <p15:clr>
            <a:srgbClr val="FBAE40"/>
          </p15:clr>
        </p15:guide>
        <p15:guide id="15" orient="horz" pos="2365" userDrawn="1">
          <p15:clr>
            <a:srgbClr val="FBAE40"/>
          </p15:clr>
        </p15:guide>
        <p15:guide id="16" orient="horz" pos="250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4C7F330-3D64-4FB0-93F8-C1BA49AFA826}"/>
              </a:ext>
            </a:extLst>
          </p:cNvPr>
          <p:cNvGraphicFramePr>
            <a:graphicFrameLocks noChangeAspect="1"/>
          </p:cNvGraphicFramePr>
          <p:nvPr userDrawn="1">
            <p:custDataLst>
              <p:tags r:id="rId1"/>
            </p:custDataLst>
            <p:extLst>
              <p:ext uri="{D42A27DB-BD31-4B8C-83A1-F6EECF244321}">
                <p14:modId xmlns:p14="http://schemas.microsoft.com/office/powerpoint/2010/main" val="65115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54C7F330-3D64-4FB0-93F8-C1BA49AFA8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tabLst>
                <a:tab pos="4927600" algn="l"/>
              </a:tabLs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3" name="Rechteck 2">
            <a:extLst>
              <a:ext uri="{FF2B5EF4-FFF2-40B4-BE49-F238E27FC236}">
                <a16:creationId xmlns:a16="http://schemas.microsoft.com/office/drawing/2014/main" id="{1DF2DED3-0602-4827-AE5B-D7DA542659F4}"/>
              </a:ext>
            </a:extLst>
          </p:cNvPr>
          <p:cNvSpPr>
            <a:spLocks/>
          </p:cNvSpPr>
          <p:nvPr userDrawn="1"/>
        </p:nvSpPr>
        <p:spPr>
          <a:xfrm>
            <a:off x="0" y="1244598"/>
            <a:ext cx="12192000" cy="5326065"/>
          </a:xfrm>
          <a:prstGeom prst="rect">
            <a:avLst/>
          </a:prstGeom>
          <a:gradFill>
            <a:gsLst>
              <a:gs pos="1000">
                <a:schemeClr val="accent4"/>
              </a:gs>
              <a:gs pos="100000">
                <a:schemeClr val="accent6"/>
              </a:gs>
            </a:gsLst>
            <a:lin ang="5400000" scaled="0"/>
          </a:gradFill>
        </p:spPr>
        <p:txBody>
          <a:bodyPr vert="horz" lIns="0" tIns="0" rIns="0" bIns="720000" rtlCol="0" anchor="ctr" anchorCtr="0">
            <a:noAutofit/>
          </a:bodyPr>
          <a:lstStyle/>
          <a:p>
            <a:pPr lvl="0" indent="0" algn="ctr" rtl="0">
              <a:lnSpc>
                <a:spcPct val="100000"/>
              </a:lnSpc>
              <a:spcBef>
                <a:spcPts val="0"/>
              </a:spcBef>
              <a:spcAft>
                <a:spcPts val="600"/>
              </a:spcAft>
              <a:buClr>
                <a:schemeClr val="tx2"/>
              </a:buClr>
              <a:buFont typeface="Wingdings" panose="05000000000000000000" pitchFamily="2" charset="2"/>
              <a:buNone/>
            </a:pPr>
            <a:endParaRPr lang="de-DE" dirty="0">
              <a:solidFill>
                <a:schemeClr val="tx1"/>
              </a:solidFill>
            </a:endParaRPr>
          </a:p>
        </p:txBody>
      </p:sp>
    </p:spTree>
    <p:extLst>
      <p:ext uri="{BB962C8B-B14F-4D97-AF65-F5344CB8AC3E}">
        <p14:creationId xmlns:p14="http://schemas.microsoft.com/office/powerpoint/2010/main" val="230678849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Picture Lef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FD9A65-9362-4228-B368-164FA84D1704}"/>
              </a:ext>
            </a:extLst>
          </p:cNvPr>
          <p:cNvGraphicFramePr>
            <a:graphicFrameLocks noChangeAspect="1"/>
          </p:cNvGraphicFramePr>
          <p:nvPr userDrawn="1">
            <p:custDataLst>
              <p:tags r:id="rId1"/>
            </p:custDataLst>
            <p:extLst>
              <p:ext uri="{D42A27DB-BD31-4B8C-83A1-F6EECF244321}">
                <p14:modId xmlns:p14="http://schemas.microsoft.com/office/powerpoint/2010/main" val="30210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F2FD9A65-9362-4228-B368-164FA84D1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6316130"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Bildplatzhalter 1">
            <a:extLst>
              <a:ext uri="{FF2B5EF4-FFF2-40B4-BE49-F238E27FC236}">
                <a16:creationId xmlns:a16="http://schemas.microsoft.com/office/drawing/2014/main" id="{5730C142-F37E-4F0E-997D-1B4882F0DF69}"/>
              </a:ext>
            </a:extLst>
          </p:cNvPr>
          <p:cNvSpPr>
            <a:spLocks noGrp="1"/>
          </p:cNvSpPr>
          <p:nvPr>
            <p:ph type="pic" sz="quarter" idx="12" hasCustomPrompt="1"/>
          </p:nvPr>
        </p:nvSpPr>
        <p:spPr>
          <a:xfrm>
            <a:off x="0" y="1413933"/>
            <a:ext cx="5886447" cy="4894792"/>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27441703"/>
      </p:ext>
    </p:extLst>
  </p:cSld>
  <p:clrMapOvr>
    <a:masterClrMapping/>
  </p:clrMapOvr>
  <p:extLst>
    <p:ext uri="{DCECCB84-F9BA-43D5-87BE-67443E8EF086}">
      <p15:sldGuideLst xmlns:p15="http://schemas.microsoft.com/office/powerpoint/2012/main">
        <p15:guide id="11" pos="3713" userDrawn="1">
          <p15:clr>
            <a:srgbClr val="FBAE40"/>
          </p15:clr>
        </p15:guide>
        <p15:guide id="12" pos="396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Picture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3B85CB-7648-45C2-8AA4-9F501EFD0459}"/>
              </a:ext>
            </a:extLst>
          </p:cNvPr>
          <p:cNvGraphicFramePr>
            <a:graphicFrameLocks noChangeAspect="1"/>
          </p:cNvGraphicFramePr>
          <p:nvPr userDrawn="1">
            <p:custDataLst>
              <p:tags r:id="rId1"/>
            </p:custDataLst>
            <p:extLst>
              <p:ext uri="{D42A27DB-BD31-4B8C-83A1-F6EECF244321}">
                <p14:modId xmlns:p14="http://schemas.microsoft.com/office/powerpoint/2010/main" val="275173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4E3B85CB-7648-45C2-8AA4-9F501EFD04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488947"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5" name="Bildplatzhalter 3">
            <a:extLst>
              <a:ext uri="{FF2B5EF4-FFF2-40B4-BE49-F238E27FC236}">
                <a16:creationId xmlns:a16="http://schemas.microsoft.com/office/drawing/2014/main" id="{5FB2A3B7-A796-4B19-828B-216A63DF6888}"/>
              </a:ext>
            </a:extLst>
          </p:cNvPr>
          <p:cNvSpPr>
            <a:spLocks noGrp="1"/>
          </p:cNvSpPr>
          <p:nvPr>
            <p:ph type="pic" sz="quarter" idx="12" hasCustomPrompt="1"/>
          </p:nvPr>
        </p:nvSpPr>
        <p:spPr>
          <a:xfrm>
            <a:off x="6305553" y="1413933"/>
            <a:ext cx="5886447" cy="4894792"/>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Tree>
    <p:extLst>
      <p:ext uri="{BB962C8B-B14F-4D97-AF65-F5344CB8AC3E}">
        <p14:creationId xmlns:p14="http://schemas.microsoft.com/office/powerpoint/2010/main" val="3103962122"/>
      </p:ext>
    </p:extLst>
  </p:cSld>
  <p:clrMapOvr>
    <a:masterClrMapping/>
  </p:clrMapOvr>
  <p:extLst>
    <p:ext uri="{DCECCB84-F9BA-43D5-87BE-67443E8EF086}">
      <p15:sldGuideLst xmlns:p15="http://schemas.microsoft.com/office/powerpoint/2012/main">
        <p15:guide id="9" pos="3713">
          <p15:clr>
            <a:srgbClr val="FBAE40"/>
          </p15:clr>
        </p15:guide>
        <p15:guide id="10" pos="39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Picture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ECEF4E8-D1ED-4741-8EA5-2F059DE1A839}"/>
              </a:ext>
            </a:extLst>
          </p:cNvPr>
          <p:cNvGraphicFramePr>
            <a:graphicFrameLocks noChangeAspect="1"/>
          </p:cNvGraphicFramePr>
          <p:nvPr userDrawn="1">
            <p:custDataLst>
              <p:tags r:id="rId1"/>
            </p:custDataLst>
            <p:extLst>
              <p:ext uri="{D42A27DB-BD31-4B8C-83A1-F6EECF244321}">
                <p14:modId xmlns:p14="http://schemas.microsoft.com/office/powerpoint/2010/main" val="2155943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8ECEF4E8-D1ED-4741-8EA5-2F059DE1A8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2">
            <a:extLst>
              <a:ext uri="{FF2B5EF4-FFF2-40B4-BE49-F238E27FC236}">
                <a16:creationId xmlns:a16="http://schemas.microsoft.com/office/drawing/2014/main" id="{21DD1C87-BB96-419F-854D-07AA4BC5BBB7}"/>
              </a:ext>
            </a:extLst>
          </p:cNvPr>
          <p:cNvSpPr>
            <a:spLocks noGrp="1"/>
          </p:cNvSpPr>
          <p:nvPr>
            <p:ph type="pic" sz="quarter" idx="15" hasCustomPrompt="1"/>
          </p:nvPr>
        </p:nvSpPr>
        <p:spPr>
          <a:xfrm>
            <a:off x="6317289" y="1413933"/>
            <a:ext cx="5396342" cy="2338866"/>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7" name="Bildplatzhalter 1">
            <a:extLst>
              <a:ext uri="{FF2B5EF4-FFF2-40B4-BE49-F238E27FC236}">
                <a16:creationId xmlns:a16="http://schemas.microsoft.com/office/drawing/2014/main" id="{002A9939-48F2-4545-B99B-4FBDD4F4661C}"/>
              </a:ext>
            </a:extLst>
          </p:cNvPr>
          <p:cNvSpPr>
            <a:spLocks noGrp="1"/>
          </p:cNvSpPr>
          <p:nvPr>
            <p:ph type="pic" sz="quarter" idx="14" hasCustomPrompt="1"/>
          </p:nvPr>
        </p:nvSpPr>
        <p:spPr>
          <a:xfrm>
            <a:off x="488947" y="1413933"/>
            <a:ext cx="5396342" cy="2338866"/>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2" name="Inhaltsplatzhalter 1">
            <a:extLst>
              <a:ext uri="{FF2B5EF4-FFF2-40B4-BE49-F238E27FC236}">
                <a16:creationId xmlns:a16="http://schemas.microsoft.com/office/drawing/2014/main" id="{21A07BCC-CBB3-45C5-871C-CEC015A95C59}"/>
              </a:ext>
            </a:extLst>
          </p:cNvPr>
          <p:cNvSpPr>
            <a:spLocks noGrp="1"/>
          </p:cNvSpPr>
          <p:nvPr>
            <p:ph sz="quarter" idx="10" hasCustomPrompt="1"/>
          </p:nvPr>
        </p:nvSpPr>
        <p:spPr>
          <a:xfrm>
            <a:off x="488947" y="3968797"/>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3" name="Inhaltsplatzhalter 1">
            <a:extLst>
              <a:ext uri="{FF2B5EF4-FFF2-40B4-BE49-F238E27FC236}">
                <a16:creationId xmlns:a16="http://schemas.microsoft.com/office/drawing/2014/main" id="{4842ABB0-6221-4430-AD7F-233AE6B84AB9}"/>
              </a:ext>
            </a:extLst>
          </p:cNvPr>
          <p:cNvSpPr>
            <a:spLocks noGrp="1"/>
          </p:cNvSpPr>
          <p:nvPr>
            <p:ph sz="quarter" idx="16" hasCustomPrompt="1"/>
          </p:nvPr>
        </p:nvSpPr>
        <p:spPr>
          <a:xfrm>
            <a:off x="6316130" y="3968798"/>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825782788"/>
      </p:ext>
    </p:extLst>
  </p:cSld>
  <p:clrMapOvr>
    <a:masterClrMapping/>
  </p:clrMapOvr>
  <p:extLst>
    <p:ext uri="{DCECCB84-F9BA-43D5-87BE-67443E8EF086}">
      <p15:sldGuideLst xmlns:p15="http://schemas.microsoft.com/office/powerpoint/2012/main">
        <p15:guide id="13" pos="3977" userDrawn="1">
          <p15:clr>
            <a:srgbClr val="FBAE40"/>
          </p15:clr>
        </p15:guide>
        <p15:guide id="14" pos="371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Picture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C59CFA-1435-478E-96A7-9D9FDB54C8FF}"/>
              </a:ext>
            </a:extLst>
          </p:cNvPr>
          <p:cNvGraphicFramePr>
            <a:graphicFrameLocks noChangeAspect="1"/>
          </p:cNvGraphicFramePr>
          <p:nvPr userDrawn="1">
            <p:custDataLst>
              <p:tags r:id="rId1"/>
            </p:custDataLst>
            <p:extLst>
              <p:ext uri="{D42A27DB-BD31-4B8C-83A1-F6EECF244321}">
                <p14:modId xmlns:p14="http://schemas.microsoft.com/office/powerpoint/2010/main" val="2258734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58C59CFA-1435-478E-96A7-9D9FDB54C8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C1CC7D62-9893-4BEA-8A91-B49BF94C3615}"/>
              </a:ext>
            </a:extLst>
          </p:cNvPr>
          <p:cNvSpPr>
            <a:spLocks noGrp="1"/>
          </p:cNvSpPr>
          <p:nvPr>
            <p:ph type="pic" sz="quarter" idx="18" hasCustomPrompt="1"/>
          </p:nvPr>
        </p:nvSpPr>
        <p:spPr>
          <a:xfrm>
            <a:off x="8116069" y="1413933"/>
            <a:ext cx="3597561" cy="2246089"/>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2">
            <a:extLst>
              <a:ext uri="{FF2B5EF4-FFF2-40B4-BE49-F238E27FC236}">
                <a16:creationId xmlns:a16="http://schemas.microsoft.com/office/drawing/2014/main" id="{D8F13227-C5D1-4782-B063-BEEC402A95A8}"/>
              </a:ext>
            </a:extLst>
          </p:cNvPr>
          <p:cNvSpPr>
            <a:spLocks noGrp="1"/>
          </p:cNvSpPr>
          <p:nvPr>
            <p:ph type="pic" sz="quarter" idx="17" hasCustomPrompt="1"/>
          </p:nvPr>
        </p:nvSpPr>
        <p:spPr>
          <a:xfrm>
            <a:off x="4302508" y="1413933"/>
            <a:ext cx="3597561" cy="2246089"/>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9" name="Bildplatzhalter 1">
            <a:extLst>
              <a:ext uri="{FF2B5EF4-FFF2-40B4-BE49-F238E27FC236}">
                <a16:creationId xmlns:a16="http://schemas.microsoft.com/office/drawing/2014/main" id="{8E88005D-BECE-427C-8BF8-4FB5D6607AFF}"/>
              </a:ext>
            </a:extLst>
          </p:cNvPr>
          <p:cNvSpPr>
            <a:spLocks noGrp="1"/>
          </p:cNvSpPr>
          <p:nvPr>
            <p:ph type="pic" sz="quarter" idx="16" hasCustomPrompt="1"/>
          </p:nvPr>
        </p:nvSpPr>
        <p:spPr>
          <a:xfrm>
            <a:off x="488947" y="1413933"/>
            <a:ext cx="3597561" cy="2246089"/>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5" name="Inhaltsplatzhalter 1">
            <a:extLst>
              <a:ext uri="{FF2B5EF4-FFF2-40B4-BE49-F238E27FC236}">
                <a16:creationId xmlns:a16="http://schemas.microsoft.com/office/drawing/2014/main" id="{F618BC1E-BA4B-4C2D-9055-151550F2576F}"/>
              </a:ext>
            </a:extLst>
          </p:cNvPr>
          <p:cNvSpPr>
            <a:spLocks noGrp="1"/>
          </p:cNvSpPr>
          <p:nvPr>
            <p:ph sz="quarter" idx="10" hasCustomPrompt="1"/>
          </p:nvPr>
        </p:nvSpPr>
        <p:spPr>
          <a:xfrm>
            <a:off x="488947"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7" name="Inhaltsplatzhalter 1">
            <a:extLst>
              <a:ext uri="{FF2B5EF4-FFF2-40B4-BE49-F238E27FC236}">
                <a16:creationId xmlns:a16="http://schemas.microsoft.com/office/drawing/2014/main" id="{39749FF8-9C62-429D-B248-147D3882DD4E}"/>
              </a:ext>
            </a:extLst>
          </p:cNvPr>
          <p:cNvSpPr>
            <a:spLocks noGrp="1"/>
          </p:cNvSpPr>
          <p:nvPr>
            <p:ph sz="quarter" idx="19" hasCustomPrompt="1"/>
          </p:nvPr>
        </p:nvSpPr>
        <p:spPr>
          <a:xfrm>
            <a:off x="4302508"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8" name="Inhaltsplatzhalter 1">
            <a:extLst>
              <a:ext uri="{FF2B5EF4-FFF2-40B4-BE49-F238E27FC236}">
                <a16:creationId xmlns:a16="http://schemas.microsoft.com/office/drawing/2014/main" id="{0B2A38E1-027A-4A9E-9C3E-5F354A4A6ADC}"/>
              </a:ext>
            </a:extLst>
          </p:cNvPr>
          <p:cNvSpPr>
            <a:spLocks noGrp="1"/>
          </p:cNvSpPr>
          <p:nvPr>
            <p:ph sz="quarter" idx="20" hasCustomPrompt="1"/>
          </p:nvPr>
        </p:nvSpPr>
        <p:spPr>
          <a:xfrm>
            <a:off x="8116069"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1214648763"/>
      </p:ext>
    </p:extLst>
  </p:cSld>
  <p:clrMapOvr>
    <a:masterClrMapping/>
  </p:clrMapOvr>
  <p:extLst>
    <p:ext uri="{DCECCB84-F9BA-43D5-87BE-67443E8EF086}">
      <p15:sldGuideLst xmlns:p15="http://schemas.microsoft.com/office/powerpoint/2012/main">
        <p15:guide id="13" pos="2577" userDrawn="1">
          <p15:clr>
            <a:srgbClr val="FBAE40"/>
          </p15:clr>
        </p15:guide>
        <p15:guide id="14" pos="2710" userDrawn="1">
          <p15:clr>
            <a:srgbClr val="FBAE40"/>
          </p15:clr>
        </p15:guide>
        <p15:guide id="15" pos="4978" userDrawn="1">
          <p15:clr>
            <a:srgbClr val="FBAE40"/>
          </p15:clr>
        </p15:guide>
        <p15:guide id="16" pos="511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Picture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1DD4F3-1611-4813-B014-B6F6B1F774E7}"/>
              </a:ext>
            </a:extLst>
          </p:cNvPr>
          <p:cNvGraphicFramePr>
            <a:graphicFrameLocks noChangeAspect="1"/>
          </p:cNvGraphicFramePr>
          <p:nvPr userDrawn="1">
            <p:custDataLst>
              <p:tags r:id="rId1"/>
            </p:custDataLst>
            <p:extLst>
              <p:ext uri="{D42A27DB-BD31-4B8C-83A1-F6EECF244321}">
                <p14:modId xmlns:p14="http://schemas.microsoft.com/office/powerpoint/2010/main" val="1351512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B11DD4F3-1611-4813-B014-B6F6B1F77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ildplatzhalter 4">
            <a:extLst>
              <a:ext uri="{FF2B5EF4-FFF2-40B4-BE49-F238E27FC236}">
                <a16:creationId xmlns:a16="http://schemas.microsoft.com/office/drawing/2014/main" id="{EA143C20-52BF-4891-994E-588F799371BA}"/>
              </a:ext>
            </a:extLst>
          </p:cNvPr>
          <p:cNvSpPr>
            <a:spLocks noGrp="1"/>
          </p:cNvSpPr>
          <p:nvPr>
            <p:ph type="pic" sz="quarter" idx="21" hasCustomPrompt="1"/>
          </p:nvPr>
        </p:nvSpPr>
        <p:spPr>
          <a:xfrm>
            <a:off x="9069460" y="1413934"/>
            <a:ext cx="2644171" cy="2246091"/>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5" name="Bildplatzhalter 3">
            <a:extLst>
              <a:ext uri="{FF2B5EF4-FFF2-40B4-BE49-F238E27FC236}">
                <a16:creationId xmlns:a16="http://schemas.microsoft.com/office/drawing/2014/main" id="{9B1A1B6B-6B2F-4D5A-91A8-C5161E45AB04}"/>
              </a:ext>
            </a:extLst>
          </p:cNvPr>
          <p:cNvSpPr>
            <a:spLocks noGrp="1"/>
          </p:cNvSpPr>
          <p:nvPr>
            <p:ph type="pic" sz="quarter" idx="20" hasCustomPrompt="1"/>
          </p:nvPr>
        </p:nvSpPr>
        <p:spPr>
          <a:xfrm>
            <a:off x="6209289" y="1413934"/>
            <a:ext cx="2644171" cy="2246091"/>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3" name="Bildplatzhalter 2">
            <a:extLst>
              <a:ext uri="{FF2B5EF4-FFF2-40B4-BE49-F238E27FC236}">
                <a16:creationId xmlns:a16="http://schemas.microsoft.com/office/drawing/2014/main" id="{073F01E6-A077-4F39-A94E-9EFE54D2E4E8}"/>
              </a:ext>
            </a:extLst>
          </p:cNvPr>
          <p:cNvSpPr>
            <a:spLocks noGrp="1"/>
          </p:cNvSpPr>
          <p:nvPr>
            <p:ph type="pic" sz="quarter" idx="19" hasCustomPrompt="1"/>
          </p:nvPr>
        </p:nvSpPr>
        <p:spPr>
          <a:xfrm>
            <a:off x="3349118" y="1413934"/>
            <a:ext cx="2644171" cy="2246091"/>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1">
            <a:extLst>
              <a:ext uri="{FF2B5EF4-FFF2-40B4-BE49-F238E27FC236}">
                <a16:creationId xmlns:a16="http://schemas.microsoft.com/office/drawing/2014/main" id="{320CFD8C-6A4A-4FAB-822D-054B82DCFD42}"/>
              </a:ext>
            </a:extLst>
          </p:cNvPr>
          <p:cNvSpPr>
            <a:spLocks noGrp="1"/>
          </p:cNvSpPr>
          <p:nvPr>
            <p:ph type="pic" sz="quarter" idx="18" hasCustomPrompt="1"/>
          </p:nvPr>
        </p:nvSpPr>
        <p:spPr>
          <a:xfrm>
            <a:off x="488947" y="1413934"/>
            <a:ext cx="2644171" cy="2246091"/>
          </a:xfrm>
          <a:pattFill prst="dkUpDiag">
            <a:fgClr>
              <a:schemeClr val="accent1"/>
            </a:fgClr>
            <a:bgClr>
              <a:schemeClr val="bg1"/>
            </a:bgClr>
          </a:pattFill>
        </p:spPr>
        <p:txBody>
          <a:bodyPr bIns="720000" anchor="ctr" anchorCtr="1"/>
          <a:lstStyle>
            <a:lvl1pPr marL="0" indent="0" rtl="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9" name="Inhaltsplatzhalter 1">
            <a:extLst>
              <a:ext uri="{FF2B5EF4-FFF2-40B4-BE49-F238E27FC236}">
                <a16:creationId xmlns:a16="http://schemas.microsoft.com/office/drawing/2014/main" id="{6CE7BB11-9C21-456E-83D7-62B9D458E21E}"/>
              </a:ext>
            </a:extLst>
          </p:cNvPr>
          <p:cNvSpPr>
            <a:spLocks noGrp="1"/>
          </p:cNvSpPr>
          <p:nvPr>
            <p:ph sz="quarter" idx="10" hasCustomPrompt="1"/>
          </p:nvPr>
        </p:nvSpPr>
        <p:spPr>
          <a:xfrm>
            <a:off x="488947"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0" name="Inhaltsplatzhalter 1">
            <a:extLst>
              <a:ext uri="{FF2B5EF4-FFF2-40B4-BE49-F238E27FC236}">
                <a16:creationId xmlns:a16="http://schemas.microsoft.com/office/drawing/2014/main" id="{27E42A5D-C99D-4B3C-99B7-053CF69A119E}"/>
              </a:ext>
            </a:extLst>
          </p:cNvPr>
          <p:cNvSpPr>
            <a:spLocks noGrp="1"/>
          </p:cNvSpPr>
          <p:nvPr>
            <p:ph sz="quarter" idx="22" hasCustomPrompt="1"/>
          </p:nvPr>
        </p:nvSpPr>
        <p:spPr>
          <a:xfrm>
            <a:off x="3349118"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1" name="Inhaltsplatzhalter 1">
            <a:extLst>
              <a:ext uri="{FF2B5EF4-FFF2-40B4-BE49-F238E27FC236}">
                <a16:creationId xmlns:a16="http://schemas.microsoft.com/office/drawing/2014/main" id="{7DCDE22D-7C60-4E83-A6E8-C458BFB9DFCA}"/>
              </a:ext>
            </a:extLst>
          </p:cNvPr>
          <p:cNvSpPr>
            <a:spLocks noGrp="1"/>
          </p:cNvSpPr>
          <p:nvPr>
            <p:ph sz="quarter" idx="23" hasCustomPrompt="1"/>
          </p:nvPr>
        </p:nvSpPr>
        <p:spPr>
          <a:xfrm>
            <a:off x="6209289"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BC839F12-6E68-4D1C-B187-9307DD85F162}"/>
              </a:ext>
            </a:extLst>
          </p:cNvPr>
          <p:cNvSpPr>
            <a:spLocks noGrp="1"/>
          </p:cNvSpPr>
          <p:nvPr>
            <p:ph sz="quarter" idx="24" hasCustomPrompt="1"/>
          </p:nvPr>
        </p:nvSpPr>
        <p:spPr>
          <a:xfrm>
            <a:off x="9069460"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2296047359"/>
      </p:ext>
    </p:extLst>
  </p:cSld>
  <p:clrMapOvr>
    <a:masterClrMapping/>
  </p:clrMapOvr>
  <p:extLst>
    <p:ext uri="{DCECCB84-F9BA-43D5-87BE-67443E8EF086}">
      <p15:sldGuideLst xmlns:p15="http://schemas.microsoft.com/office/powerpoint/2012/main">
        <p15:guide id="15" pos="1977" userDrawn="1">
          <p15:clr>
            <a:srgbClr val="FBAE40"/>
          </p15:clr>
        </p15:guide>
        <p15:guide id="16" pos="2104" userDrawn="1">
          <p15:clr>
            <a:srgbClr val="FBAE40"/>
          </p15:clr>
        </p15:guide>
        <p15:guide id="17" pos="3911" userDrawn="1">
          <p15:clr>
            <a:srgbClr val="FBAE40"/>
          </p15:clr>
        </p15:guide>
        <p15:guide id="18" pos="3777" userDrawn="1">
          <p15:clr>
            <a:srgbClr val="FBAE40"/>
          </p15:clr>
        </p15:guide>
        <p15:guide id="19" pos="5711" userDrawn="1">
          <p15:clr>
            <a:srgbClr val="FBAE40"/>
          </p15:clr>
        </p15:guide>
        <p15:guide id="20" pos="557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Key No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83DF9-0121-47E6-9B72-30EF7AB86CD4}"/>
              </a:ext>
            </a:extLst>
          </p:cNvPr>
          <p:cNvGraphicFramePr>
            <a:graphicFrameLocks noChangeAspect="1"/>
          </p:cNvGraphicFramePr>
          <p:nvPr userDrawn="1">
            <p:custDataLst>
              <p:tags r:id="rId1"/>
            </p:custDataLst>
            <p:extLst>
              <p:ext uri="{D42A27DB-BD31-4B8C-83A1-F6EECF244321}">
                <p14:modId xmlns:p14="http://schemas.microsoft.com/office/powerpoint/2010/main" val="3698248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85183DF9-0121-47E6-9B72-30EF7AB86C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1"/>
          <p:cNvSpPr>
            <a:spLocks noGrp="1"/>
          </p:cNvSpPr>
          <p:nvPr>
            <p:ph type="pic" sz="quarter" idx="10" hasCustomPrompt="1"/>
          </p:nvPr>
        </p:nvSpPr>
        <p:spPr>
          <a:xfrm>
            <a:off x="0" y="0"/>
            <a:ext cx="12192000" cy="6570482"/>
          </a:xfrm>
          <a:gradFill>
            <a:gsLst>
              <a:gs pos="1000">
                <a:schemeClr val="tx2"/>
              </a:gs>
              <a:gs pos="100000">
                <a:schemeClr val="tx2">
                  <a:lumMod val="50000"/>
                </a:schemeClr>
              </a:gs>
            </a:gsLst>
            <a:lin ang="5400000" scaled="0"/>
          </a:gradFill>
        </p:spPr>
        <p:txBody>
          <a:bodyPr vert="horz" lIns="0" tIns="0" rIns="0" bIns="0" rtlCol="0">
            <a:noAutofit/>
          </a:bodyPr>
          <a:lstStyle>
            <a:lvl1pPr rtl="0">
              <a:lnSpc>
                <a:spcPct val="100000"/>
              </a:lnSpc>
              <a:spcBef>
                <a:spcPts val="0"/>
              </a:spcBef>
              <a:spcAft>
                <a:spcPts val="600"/>
              </a:spcAft>
              <a:defRPr lang="de-DE" noProof="0"/>
            </a:lvl1pPr>
          </a:lstStyle>
          <a:p>
            <a:pPr marL="0" lvl="0" indent="0">
              <a:buNone/>
            </a:pPr>
            <a:r>
              <a:rPr lang="de-DE" noProof="0" dirty="0"/>
              <a:t> </a:t>
            </a:r>
          </a:p>
        </p:txBody>
      </p:sp>
      <p:sp>
        <p:nvSpPr>
          <p:cNvPr id="2" name="Titel 1"/>
          <p:cNvSpPr>
            <a:spLocks noGrp="1"/>
          </p:cNvSpPr>
          <p:nvPr>
            <p:ph type="title" hasCustomPrompt="1"/>
          </p:nvPr>
        </p:nvSpPr>
        <p:spPr>
          <a:xfrm>
            <a:off x="0" y="1412875"/>
            <a:ext cx="12202578" cy="1449216"/>
          </a:xfrm>
          <a:noFill/>
        </p:spPr>
        <p:txBody>
          <a:bodyPr vert="horz" lIns="572400" tIns="108000" rIns="572400" bIns="108000"/>
          <a:lstStyle>
            <a:lvl1pPr algn="l" rtl="0">
              <a:lnSpc>
                <a:spcPct val="100000"/>
              </a:lnSpc>
              <a:spcBef>
                <a:spcPts val="0"/>
              </a:spcBef>
              <a:spcAft>
                <a:spcPts val="600"/>
              </a:spcAft>
              <a:defRPr sz="4000">
                <a:solidFill>
                  <a:schemeClr val="bg1"/>
                </a:solidFill>
              </a:defRPr>
            </a:lvl1pPr>
          </a:lstStyle>
          <a:p>
            <a:r>
              <a:rPr lang="de-DE" noProof="0" dirty="0"/>
              <a:t>Key Note </a:t>
            </a:r>
            <a:r>
              <a:rPr lang="de-DE" noProof="0" dirty="0" err="1"/>
              <a:t>slide</a:t>
            </a:r>
            <a:r>
              <a:rPr lang="de-DE" noProof="0" dirty="0"/>
              <a:t> </a:t>
            </a:r>
            <a:r>
              <a:rPr lang="de-DE" noProof="0" dirty="0" err="1"/>
              <a:t>with</a:t>
            </a:r>
            <a:r>
              <a:rPr lang="de-DE" noProof="0" dirty="0"/>
              <a:t> </a:t>
            </a:r>
            <a:r>
              <a:rPr lang="de-DE" noProof="0" dirty="0" err="1"/>
              <a:t>or</a:t>
            </a:r>
            <a:r>
              <a:rPr lang="de-DE" noProof="0" dirty="0"/>
              <a:t> </a:t>
            </a:r>
            <a:r>
              <a:rPr lang="de-DE" noProof="0" dirty="0" err="1"/>
              <a:t>without</a:t>
            </a:r>
            <a:r>
              <a:rPr lang="de-DE" noProof="0" dirty="0"/>
              <a:t> Picture. </a:t>
            </a:r>
            <a:br>
              <a:rPr lang="de-DE" noProof="0" dirty="0"/>
            </a:br>
            <a:r>
              <a:rPr lang="de-DE" noProof="0" dirty="0"/>
              <a:t>(Short!) Text </a:t>
            </a:r>
            <a:r>
              <a:rPr lang="de-DE" noProof="0" dirty="0" err="1"/>
              <a:t>can</a:t>
            </a:r>
            <a:r>
              <a:rPr lang="de-DE" noProof="0" dirty="0"/>
              <a:t> </a:t>
            </a:r>
            <a:r>
              <a:rPr lang="de-DE" noProof="0" dirty="0" err="1"/>
              <a:t>be</a:t>
            </a:r>
            <a:r>
              <a:rPr lang="de-DE" noProof="0" dirty="0"/>
              <a:t> </a:t>
            </a:r>
            <a:r>
              <a:rPr lang="de-DE" noProof="0" dirty="0" err="1"/>
              <a:t>moved</a:t>
            </a:r>
            <a:r>
              <a:rPr lang="de-DE" noProof="0" dirty="0"/>
              <a:t>.</a:t>
            </a:r>
          </a:p>
        </p:txBody>
      </p:sp>
    </p:spTree>
    <p:extLst>
      <p:ext uri="{BB962C8B-B14F-4D97-AF65-F5344CB8AC3E}">
        <p14:creationId xmlns:p14="http://schemas.microsoft.com/office/powerpoint/2010/main" val="128400392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 Half Area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F5BEF2A-9A1E-4EAC-B0F5-2DDB471F4249}"/>
              </a:ext>
            </a:extLst>
          </p:cNvPr>
          <p:cNvGraphicFramePr>
            <a:graphicFrameLocks noChangeAspect="1"/>
          </p:cNvGraphicFramePr>
          <p:nvPr userDrawn="1">
            <p:custDataLst>
              <p:tags r:id="rId1"/>
            </p:custDataLst>
            <p:extLst>
              <p:ext uri="{D42A27DB-BD31-4B8C-83A1-F6EECF244321}">
                <p14:modId xmlns:p14="http://schemas.microsoft.com/office/powerpoint/2010/main" val="289740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EF5BEF2A-9A1E-4EAC-B0F5-2DDB471F42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6">
            <a:extLst>
              <a:ext uri="{FF2B5EF4-FFF2-40B4-BE49-F238E27FC236}">
                <a16:creationId xmlns:a16="http://schemas.microsoft.com/office/drawing/2014/main" id="{26B223D4-141A-4CF8-A0E8-2BDBE75FE81C}"/>
              </a:ext>
            </a:extLst>
          </p:cNvPr>
          <p:cNvSpPr>
            <a:spLocks noGrp="1"/>
          </p:cNvSpPr>
          <p:nvPr>
            <p:ph type="body" sz="quarter" idx="11" hasCustomPrompt="1"/>
          </p:nvPr>
        </p:nvSpPr>
        <p:spPr>
          <a:xfrm>
            <a:off x="479425" y="1422302"/>
            <a:ext cx="6369154" cy="1144352"/>
          </a:xfrm>
        </p:spPr>
        <p:txBody>
          <a:bodyPr wrap="square" lIns="0" tIns="0" rIns="0" bIns="0">
            <a:spAutoFit/>
          </a:bodyPr>
          <a:lstStyle>
            <a:lvl1pPr marL="0" indent="0" rtl="0">
              <a:lnSpc>
                <a:spcPct val="100000"/>
              </a:lnSpc>
              <a:buFontTx/>
              <a:buNone/>
              <a:defRPr sz="7200" b="1">
                <a:solidFill>
                  <a:schemeClr val="tx2"/>
                </a:solidFill>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e-DE" noProof="0" dirty="0"/>
              <a:t>A1</a:t>
            </a:r>
          </a:p>
        </p:txBody>
      </p:sp>
      <p:sp>
        <p:nvSpPr>
          <p:cNvPr id="7" name="Bildplatzhalter 6">
            <a:extLst>
              <a:ext uri="{FF2B5EF4-FFF2-40B4-BE49-F238E27FC236}">
                <a16:creationId xmlns:a16="http://schemas.microsoft.com/office/drawing/2014/main" id="{69518E7B-00FD-45A8-91EB-08EBB2BB7FA4}"/>
              </a:ext>
            </a:extLst>
          </p:cNvPr>
          <p:cNvSpPr>
            <a:spLocks noGrp="1"/>
          </p:cNvSpPr>
          <p:nvPr>
            <p:ph type="pic" sz="quarter" idx="12" hasCustomPrompt="1"/>
          </p:nvPr>
        </p:nvSpPr>
        <p:spPr>
          <a:xfrm>
            <a:off x="7343270" y="1"/>
            <a:ext cx="4848730" cy="6570481"/>
          </a:xfrm>
          <a:gradFill>
            <a:gsLst>
              <a:gs pos="1000">
                <a:schemeClr val="tx2"/>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rtl="0">
              <a:lnSpc>
                <a:spcPct val="100000"/>
              </a:lnSpc>
              <a:buNone/>
              <a:defRPr lang="en-GB">
                <a:latin typeface="BMWGroupTN Condensed" pitchFamily="50" charset="0"/>
              </a:defRPr>
            </a:lvl1pPr>
          </a:lstStyle>
          <a:p>
            <a:pPr marL="0" lvl="0"/>
            <a:r>
              <a:rPr lang="de-DE" noProof="0" dirty="0"/>
              <a:t> </a:t>
            </a:r>
          </a:p>
        </p:txBody>
      </p:sp>
      <p:sp>
        <p:nvSpPr>
          <p:cNvPr id="2" name="Titel 1"/>
          <p:cNvSpPr>
            <a:spLocks noGrp="1"/>
          </p:cNvSpPr>
          <p:nvPr>
            <p:ph type="ctrTitle" hasCustomPrompt="1"/>
          </p:nvPr>
        </p:nvSpPr>
        <p:spPr>
          <a:xfrm>
            <a:off x="479808" y="2565951"/>
            <a:ext cx="6374130" cy="1846659"/>
          </a:xfrm>
          <a:noFill/>
        </p:spPr>
        <p:txBody>
          <a:bodyPr vert="horz" wrap="square" lIns="0" tIns="0" rIns="0" bIns="0" anchor="t" anchorCtr="0">
            <a:spAutoFit/>
          </a:bodyPr>
          <a:lstStyle>
            <a:lvl1pPr algn="l" rtl="0">
              <a:lnSpc>
                <a:spcPct val="100000"/>
              </a:lnSpc>
              <a:spcAft>
                <a:spcPts val="0"/>
              </a:spcAft>
              <a:defRPr sz="4000" b="0" cap="all" baseline="0">
                <a:solidFill>
                  <a:schemeClr val="tx1"/>
                </a:solidFill>
              </a:defRPr>
            </a:lvl1pPr>
          </a:lstStyle>
          <a:p>
            <a:r>
              <a:rPr lang="de-DE" noProof="0" dirty="0" err="1"/>
              <a:t>Divider</a:t>
            </a:r>
            <a:r>
              <a:rPr lang="de-DE" noProof="0" dirty="0"/>
              <a:t>.</a:t>
            </a:r>
            <a:br>
              <a:rPr lang="de-DE" noProof="0" dirty="0"/>
            </a:br>
            <a:r>
              <a:rPr lang="de-DE" noProof="0" dirty="0" err="1"/>
              <a:t>Coloured</a:t>
            </a:r>
            <a:r>
              <a:rPr lang="de-DE" noProof="0" dirty="0"/>
              <a:t> Area </a:t>
            </a:r>
            <a:r>
              <a:rPr lang="de-DE" noProof="0" dirty="0" err="1"/>
              <a:t>or</a:t>
            </a:r>
            <a:r>
              <a:rPr lang="de-DE" noProof="0" dirty="0"/>
              <a:t> </a:t>
            </a:r>
            <a:br>
              <a:rPr lang="de-DE" noProof="0" dirty="0"/>
            </a:br>
            <a:r>
              <a:rPr lang="de-DE" noProof="0" dirty="0"/>
              <a:t>Picture on </a:t>
            </a:r>
            <a:r>
              <a:rPr lang="de-DE" noProof="0" dirty="0" err="1"/>
              <a:t>the</a:t>
            </a:r>
            <a:r>
              <a:rPr lang="de-DE" noProof="0" dirty="0"/>
              <a:t> </a:t>
            </a:r>
            <a:r>
              <a:rPr lang="de-DE" noProof="0" dirty="0" err="1"/>
              <a:t>right</a:t>
            </a:r>
            <a:r>
              <a:rPr lang="de-DE" noProof="0" dirty="0"/>
              <a:t>.</a:t>
            </a:r>
          </a:p>
        </p:txBody>
      </p:sp>
    </p:spTree>
    <p:extLst>
      <p:ext uri="{BB962C8B-B14F-4D97-AF65-F5344CB8AC3E}">
        <p14:creationId xmlns:p14="http://schemas.microsoft.com/office/powerpoint/2010/main" val="228134895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Nur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356325138"/>
      </p:ext>
    </p:extLst>
  </p:cSld>
  <p:clrMapOvr>
    <a:masterClrMapping/>
  </p:clrMapOvr>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rid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EE7053F-DB9B-44B2-AD0F-3AB1F6CB5717}"/>
              </a:ext>
            </a:extLst>
          </p:cNvPr>
          <p:cNvGraphicFramePr>
            <a:graphicFrameLocks noChangeAspect="1"/>
          </p:cNvGraphicFramePr>
          <p:nvPr userDrawn="1">
            <p:custDataLst>
              <p:tags r:id="rId1"/>
            </p:custDataLst>
            <p:extLst>
              <p:ext uri="{D42A27DB-BD31-4B8C-83A1-F6EECF244321}">
                <p14:modId xmlns:p14="http://schemas.microsoft.com/office/powerpoint/2010/main" val="1198660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EE7053F-DB9B-44B2-AD0F-3AB1F6CB5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59530485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rid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68A48D-FC8F-4A69-A7C6-8F5625DC62B3}"/>
              </a:ext>
            </a:extLst>
          </p:cNvPr>
          <p:cNvGraphicFramePr>
            <a:graphicFrameLocks noChangeAspect="1"/>
          </p:cNvGraphicFramePr>
          <p:nvPr userDrawn="1">
            <p:custDataLst>
              <p:tags r:id="rId1"/>
            </p:custDataLst>
            <p:extLst>
              <p:ext uri="{D42A27DB-BD31-4B8C-83A1-F6EECF244321}">
                <p14:modId xmlns:p14="http://schemas.microsoft.com/office/powerpoint/2010/main" val="1159073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C568A48D-FC8F-4A69-A7C6-8F5625DC6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65323652"/>
      </p:ext>
    </p:extLst>
  </p:cSld>
  <p:clrMapOvr>
    <a:masterClrMapping/>
  </p:clrMapOvr>
  <p:extLst>
    <p:ext uri="{DCECCB84-F9BA-43D5-87BE-67443E8EF086}">
      <p15:sldGuideLst xmlns:p15="http://schemas.microsoft.com/office/powerpoint/2012/main">
        <p15:guide id="11" pos="3704" userDrawn="1">
          <p15:clr>
            <a:srgbClr val="FBAE40"/>
          </p15:clr>
        </p15:guide>
        <p15:guide id="12" pos="397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Grid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5D995C9-90CA-4EE8-9DD8-83F67413969C}"/>
              </a:ext>
            </a:extLst>
          </p:cNvPr>
          <p:cNvGraphicFramePr>
            <a:graphicFrameLocks noChangeAspect="1"/>
          </p:cNvGraphicFramePr>
          <p:nvPr userDrawn="1">
            <p:custDataLst>
              <p:tags r:id="rId1"/>
            </p:custDataLst>
            <p:extLst>
              <p:ext uri="{D42A27DB-BD31-4B8C-83A1-F6EECF244321}">
                <p14:modId xmlns:p14="http://schemas.microsoft.com/office/powerpoint/2010/main" val="1354523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45D995C9-90CA-4EE8-9DD8-83F6741396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3628"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41665528"/>
      </p:ext>
    </p:extLst>
  </p:cSld>
  <p:clrMapOvr>
    <a:masterClrMapping/>
  </p:clrMapOvr>
  <p:extLst>
    <p:ext uri="{DCECCB84-F9BA-43D5-87BE-67443E8EF086}">
      <p15:sldGuideLst xmlns:p15="http://schemas.microsoft.com/office/powerpoint/2012/main">
        <p15:guide id="1" pos="2570">
          <p15:clr>
            <a:srgbClr val="FBAE40"/>
          </p15:clr>
        </p15:guide>
        <p15:guide id="2" pos="2712">
          <p15:clr>
            <a:srgbClr val="FBAE40"/>
          </p15:clr>
        </p15:guide>
        <p15:guide id="3" pos="5118">
          <p15:clr>
            <a:srgbClr val="FBAE40"/>
          </p15:clr>
        </p15:guide>
        <p15:guide id="4" pos="497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id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A87CDE6-4D31-464C-B238-7EB6F6DBD01F}"/>
              </a:ext>
            </a:extLst>
          </p:cNvPr>
          <p:cNvGraphicFramePr>
            <a:graphicFrameLocks noChangeAspect="1"/>
          </p:cNvGraphicFramePr>
          <p:nvPr userDrawn="1">
            <p:custDataLst>
              <p:tags r:id="rId1"/>
            </p:custDataLst>
            <p:extLst>
              <p:ext uri="{D42A27DB-BD31-4B8C-83A1-F6EECF244321}">
                <p14:modId xmlns:p14="http://schemas.microsoft.com/office/powerpoint/2010/main" val="4126639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6A87CDE6-4D31-464C-B238-7EB6F6DBD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66885869"/>
      </p:ext>
    </p:extLst>
  </p:cSld>
  <p:clrMapOvr>
    <a:masterClrMapping/>
  </p:clrMapOvr>
  <p:extLst>
    <p:ext uri="{DCECCB84-F9BA-43D5-87BE-67443E8EF086}">
      <p15:sldGuideLst xmlns:p15="http://schemas.microsoft.com/office/powerpoint/2012/main">
        <p15:guide id="1" pos="1968">
          <p15:clr>
            <a:srgbClr val="FBAE40"/>
          </p15:clr>
        </p15:guide>
        <p15:guide id="2" pos="2111">
          <p15:clr>
            <a:srgbClr val="FBAE40"/>
          </p15:clr>
        </p15:guide>
        <p15:guide id="3" pos="3771">
          <p15:clr>
            <a:srgbClr val="FBAE40"/>
          </p15:clr>
        </p15:guide>
        <p15:guide id="4" pos="3915">
          <p15:clr>
            <a:srgbClr val="FBAE40"/>
          </p15:clr>
        </p15:guide>
        <p15:guide id="5" pos="5576">
          <p15:clr>
            <a:srgbClr val="FBAE40"/>
          </p15:clr>
        </p15:guide>
        <p15:guide id="6" pos="57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rid | 2x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5645238-9DEC-4A72-9BA1-F517092FAE02}"/>
              </a:ext>
            </a:extLst>
          </p:cNvPr>
          <p:cNvGraphicFramePr>
            <a:graphicFrameLocks noChangeAspect="1"/>
          </p:cNvGraphicFramePr>
          <p:nvPr userDrawn="1">
            <p:custDataLst>
              <p:tags r:id="rId1"/>
            </p:custDataLst>
            <p:extLst>
              <p:ext uri="{D42A27DB-BD31-4B8C-83A1-F6EECF244321}">
                <p14:modId xmlns:p14="http://schemas.microsoft.com/office/powerpoint/2010/main" val="5137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05645238-9DEC-4A72-9BA1-F517092FA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89306370"/>
      </p:ext>
    </p:extLst>
  </p:cSld>
  <p:clrMapOvr>
    <a:masterClrMapping/>
  </p:clrMapOvr>
  <p:extLst>
    <p:ext uri="{DCECCB84-F9BA-43D5-87BE-67443E8EF086}">
      <p15:sldGuideLst xmlns:p15="http://schemas.microsoft.com/office/powerpoint/2012/main">
        <p15:guide id="14" pos="3704" userDrawn="1">
          <p15:clr>
            <a:srgbClr val="FBAE40"/>
          </p15:clr>
        </p15:guide>
        <p15:guide id="15" pos="3976" userDrawn="1">
          <p15:clr>
            <a:srgbClr val="FBAE40"/>
          </p15:clr>
        </p15:guide>
        <p15:guide id="16" orient="horz" pos="2500" userDrawn="1">
          <p15:clr>
            <a:srgbClr val="FBAE40"/>
          </p15:clr>
        </p15:guide>
        <p15:guide id="17" orient="horz" pos="236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1CCC0F5-E43D-4616-B7C4-E058ADB680BD}"/>
              </a:ext>
            </a:extLst>
          </p:cNvPr>
          <p:cNvGraphicFramePr>
            <a:graphicFrameLocks noChangeAspect="1"/>
          </p:cNvGraphicFramePr>
          <p:nvPr userDrawn="1">
            <p:custDataLst>
              <p:tags r:id="rId1"/>
            </p:custDataLst>
            <p:extLst>
              <p:ext uri="{D42A27DB-BD31-4B8C-83A1-F6EECF244321}">
                <p14:modId xmlns:p14="http://schemas.microsoft.com/office/powerpoint/2010/main" val="602302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1CCC0F5-E43D-4616-B7C4-E058ADB680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
            <a:extLst>
              <a:ext uri="{FF2B5EF4-FFF2-40B4-BE49-F238E27FC236}">
                <a16:creationId xmlns:a16="http://schemas.microsoft.com/office/drawing/2014/main" id="{D9028297-F8A3-40B3-AA36-477ABB38F3E8}"/>
              </a:ext>
            </a:extLst>
          </p:cNvPr>
          <p:cNvSpPr>
            <a:spLocks noGrp="1"/>
          </p:cNvSpPr>
          <p:nvPr>
            <p:ph sz="quarter" idx="17" hasCustomPrompt="1"/>
          </p:nvPr>
        </p:nvSpPr>
        <p:spPr>
          <a:xfrm>
            <a:off x="488947" y="1413933"/>
            <a:ext cx="11224684"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cap="all" baseline="0"/>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56805292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873D050-8C41-4684-9B1D-81971AB52E6D}"/>
              </a:ext>
            </a:extLst>
          </p:cNvPr>
          <p:cNvGraphicFramePr>
            <a:graphicFrameLocks noChangeAspect="1"/>
          </p:cNvGraphicFramePr>
          <p:nvPr userDrawn="1">
            <p:custDataLst>
              <p:tags r:id="rId1"/>
            </p:custDataLst>
            <p:extLst>
              <p:ext uri="{D42A27DB-BD31-4B8C-83A1-F6EECF244321}">
                <p14:modId xmlns:p14="http://schemas.microsoft.com/office/powerpoint/2010/main" val="2560669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9873D050-8C41-4684-9B1D-81971AB52E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Inhaltsplatzhalter 2">
            <a:extLst>
              <a:ext uri="{FF2B5EF4-FFF2-40B4-BE49-F238E27FC236}">
                <a16:creationId xmlns:a16="http://schemas.microsoft.com/office/drawing/2014/main" id="{BA9CD6AC-9C73-4D8F-9F5C-1CF35772BD39}"/>
              </a:ext>
            </a:extLst>
          </p:cNvPr>
          <p:cNvSpPr>
            <a:spLocks noGrp="1"/>
          </p:cNvSpPr>
          <p:nvPr>
            <p:ph sz="quarter" idx="19" hasCustomPrompt="1"/>
          </p:nvPr>
        </p:nvSpPr>
        <p:spPr>
          <a:xfrm>
            <a:off x="6317288"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4EA6A0CB-E01D-4647-9CEB-66AA9684281A}"/>
              </a:ext>
            </a:extLst>
          </p:cNvPr>
          <p:cNvSpPr>
            <a:spLocks noGrp="1"/>
          </p:cNvSpPr>
          <p:nvPr>
            <p:ph sz="quarter" idx="17" hasCustomPrompt="1"/>
          </p:nvPr>
        </p:nvSpPr>
        <p:spPr>
          <a:xfrm>
            <a:off x="488946"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88099088"/>
      </p:ext>
    </p:extLst>
  </p:cSld>
  <p:clrMapOvr>
    <a:masterClrMapping/>
  </p:clrMapOvr>
  <p:extLst>
    <p:ext uri="{DCECCB84-F9BA-43D5-87BE-67443E8EF086}">
      <p15:sldGuideLst xmlns:p15="http://schemas.microsoft.com/office/powerpoint/2012/main">
        <p15:guide id="5" pos="3711" userDrawn="1">
          <p15:clr>
            <a:srgbClr val="FBAE40"/>
          </p15:clr>
        </p15:guide>
        <p15:guide id="6" pos="397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9EE4F16-695E-4248-98E9-D0E744B1D25A}"/>
              </a:ext>
            </a:extLst>
          </p:cNvPr>
          <p:cNvGraphicFramePr>
            <a:graphicFrameLocks noChangeAspect="1"/>
          </p:cNvGraphicFramePr>
          <p:nvPr userDrawn="1">
            <p:custDataLst>
              <p:tags r:id="rId22"/>
            </p:custDataLst>
            <p:extLst>
              <p:ext uri="{D42A27DB-BD31-4B8C-83A1-F6EECF244321}">
                <p14:modId xmlns:p14="http://schemas.microsoft.com/office/powerpoint/2010/main" val="3801437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44" imgH="344" progId="TCLayout.ActiveDocument.1">
                  <p:embed/>
                </p:oleObj>
              </mc:Choice>
              <mc:Fallback>
                <p:oleObj name="think-cell Folie" r:id="rId23" imgW="344" imgH="344" progId="TCLayout.ActiveDocument.1">
                  <p:embed/>
                  <p:pic>
                    <p:nvPicPr>
                      <p:cNvPr id="10" name="Objekt 9" hidden="1">
                        <a:extLst>
                          <a:ext uri="{FF2B5EF4-FFF2-40B4-BE49-F238E27FC236}">
                            <a16:creationId xmlns:a16="http://schemas.microsoft.com/office/drawing/2014/main" id="{09EE4F16-695E-4248-98E9-D0E744B1D25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Textplatzhalter 1"/>
          <p:cNvSpPr>
            <a:spLocks noGrp="1"/>
          </p:cNvSpPr>
          <p:nvPr>
            <p:ph type="body" idx="1"/>
          </p:nvPr>
        </p:nvSpPr>
        <p:spPr>
          <a:xfrm>
            <a:off x="488947" y="1413933"/>
            <a:ext cx="11224684" cy="4894792"/>
          </a:xfrm>
          <a:prstGeom prst="rect">
            <a:avLst/>
          </a:prstGeom>
        </p:spPr>
        <p:txBody>
          <a:bodyPr vert="horz" lIns="0" tIns="0" rIns="0" bIns="0" rtlCol="0">
            <a:noAutofit/>
          </a:bodyPr>
          <a:lstStyle/>
          <a:p>
            <a:pPr lvl="0"/>
            <a:r>
              <a:rPr lang="de-DE" noProof="1"/>
              <a:t>Click to edit text</a:t>
            </a:r>
          </a:p>
          <a:p>
            <a:pPr lvl="1"/>
            <a:r>
              <a:rPr lang="de-DE" noProof="1"/>
              <a:t>Second level</a:t>
            </a:r>
          </a:p>
          <a:p>
            <a:pPr lvl="2"/>
            <a:r>
              <a:rPr lang="de-DE" noProof="1"/>
              <a:t>Third level</a:t>
            </a:r>
          </a:p>
          <a:p>
            <a:pPr lvl="3"/>
            <a:r>
              <a:rPr lang="de-DE" noProof="1"/>
              <a:t>Forth level</a:t>
            </a:r>
          </a:p>
          <a:p>
            <a:pPr lvl="4"/>
            <a:r>
              <a:rPr lang="de-DE" noProof="1"/>
              <a:t>Fifth level</a:t>
            </a:r>
          </a:p>
        </p:txBody>
      </p:sp>
      <p:sp>
        <p:nvSpPr>
          <p:cNvPr id="2" name="Titelplatzhalter 1"/>
          <p:cNvSpPr>
            <a:spLocks noGrp="1"/>
          </p:cNvSpPr>
          <p:nvPr>
            <p:ph type="title"/>
          </p:nvPr>
        </p:nvSpPr>
        <p:spPr>
          <a:xfrm>
            <a:off x="488947" y="347184"/>
            <a:ext cx="11224684" cy="400110"/>
          </a:xfrm>
          <a:prstGeom prst="rect">
            <a:avLst/>
          </a:prstGeom>
        </p:spPr>
        <p:txBody>
          <a:bodyPr vert="horz" lIns="0" tIns="0" rIns="0" bIns="0" rtlCol="0" anchor="t" anchorCtr="0">
            <a:spAutoFit/>
          </a:bodyPr>
          <a:lstStyle/>
          <a:p>
            <a:r>
              <a:rPr lang="de-DE" noProof="1"/>
              <a:t>Click to edit Action Title. 26pt. Uppercase. Two lines max.</a:t>
            </a:r>
          </a:p>
        </p:txBody>
      </p:sp>
      <p:cxnSp>
        <p:nvCxnSpPr>
          <p:cNvPr id="9" name="BMW Group Trennlinie">
            <a:extLst>
              <a:ext uri="{FF2B5EF4-FFF2-40B4-BE49-F238E27FC236}">
                <a16:creationId xmlns:a16="http://schemas.microsoft.com/office/drawing/2014/main" id="{BC1828C9-D469-4FB9-A7A2-6539CE4617FD}"/>
              </a:ext>
            </a:extLst>
          </p:cNvPr>
          <p:cNvCxnSpPr/>
          <p:nvPr userDrawn="1"/>
        </p:nvCxnSpPr>
        <p:spPr>
          <a:xfrm>
            <a:off x="-1" y="657226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3" name="FußzeileAU1">
            <a:extLst>
              <a:ext uri="{FF2B5EF4-FFF2-40B4-BE49-F238E27FC236}">
                <a16:creationId xmlns:a16="http://schemas.microsoft.com/office/drawing/2014/main" id="{A428A7A8-7E66-85DB-E171-576BD57D8687}"/>
              </a:ext>
            </a:extLst>
          </p:cNvPr>
          <p:cNvSpPr/>
          <p:nvPr userDrawn="1"/>
        </p:nvSpPr>
        <p:spPr>
          <a:xfrm>
            <a:off x="488947" y="6646943"/>
            <a:ext cx="2316340" cy="153888"/>
          </a:xfrm>
          <a:prstGeom prst="rect">
            <a:avLst/>
          </a:prstGeom>
          <a:noFill/>
          <a:ln w="19050">
            <a:noFill/>
            <a:miter lim="800000"/>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l"/>
            <a:r>
              <a:rPr lang="en-US" sz="1000">
                <a:solidFill>
                  <a:schemeClr val="tx1">
                    <a:tint val="90000"/>
                  </a:schemeClr>
                </a:solidFill>
              </a:rPr>
              <a:t>Functional Analysis | 9/9/2025 | Kevin Joseph </a:t>
            </a:r>
            <a:endParaRPr lang="en-US" sz="1000" dirty="0">
              <a:solidFill>
                <a:schemeClr val="tx1">
                  <a:tint val="90000"/>
                </a:schemeClr>
              </a:solidFill>
            </a:endParaRPr>
          </a:p>
        </p:txBody>
      </p:sp>
      <p:sp>
        <p:nvSpPr>
          <p:cNvPr id="4" name="SeitenzahlAU1">
            <a:extLst>
              <a:ext uri="{FF2B5EF4-FFF2-40B4-BE49-F238E27FC236}">
                <a16:creationId xmlns:a16="http://schemas.microsoft.com/office/drawing/2014/main" id="{82A3ED97-D9AD-233F-32E5-3F0E0E55B5DA}"/>
              </a:ext>
            </a:extLst>
          </p:cNvPr>
          <p:cNvSpPr/>
          <p:nvPr userDrawn="1"/>
        </p:nvSpPr>
        <p:spPr>
          <a:xfrm>
            <a:off x="11420281" y="6646943"/>
            <a:ext cx="293350" cy="153888"/>
          </a:xfrm>
          <a:prstGeom prst="rect">
            <a:avLst/>
          </a:prstGeom>
          <a:noFill/>
          <a:ln w="19050">
            <a:noFill/>
            <a:miter lim="800000"/>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r"/>
            <a:r>
              <a:rPr lang="en-US" sz="1000">
                <a:solidFill>
                  <a:schemeClr val="tx1">
                    <a:tint val="90000"/>
                  </a:schemeClr>
                </a:solidFill>
              </a:rPr>
              <a:t>- </a:t>
            </a:r>
            <a:fld id="{4CE751C0-11C5-42A3-8A06-40D6AA94D415}" type="slidenum">
              <a:rPr lang="en-US" sz="1000" smtClean="0">
                <a:solidFill>
                  <a:schemeClr val="tx1">
                    <a:tint val="90000"/>
                  </a:schemeClr>
                </a:solidFill>
              </a:rPr>
              <a:pPr algn="r"/>
              <a:t>‹#›</a:t>
            </a:fld>
            <a:r>
              <a:rPr lang="en-US" sz="1000">
                <a:solidFill>
                  <a:schemeClr val="tx1">
                    <a:tint val="90000"/>
                  </a:schemeClr>
                </a:solidFill>
              </a:rPr>
              <a:t> -</a:t>
            </a:r>
            <a:endParaRPr lang="en-US" sz="1000" dirty="0">
              <a:solidFill>
                <a:schemeClr val="tx1">
                  <a:tint val="90000"/>
                </a:schemeClr>
              </a:solidFill>
            </a:endParaRPr>
          </a:p>
        </p:txBody>
      </p:sp>
      <p:sp>
        <p:nvSpPr>
          <p:cNvPr id="6" name="TextBox 5">
            <a:extLst>
              <a:ext uri="{FF2B5EF4-FFF2-40B4-BE49-F238E27FC236}">
                <a16:creationId xmlns:a16="http://schemas.microsoft.com/office/drawing/2014/main" id="{2F226AE2-02C7-47A6-A696-0E22D37AB915}"/>
              </a:ext>
            </a:extLst>
          </p:cNvPr>
          <p:cNvSpPr txBox="1"/>
          <p:nvPr userDrawn="1">
            <p:extLst>
              <p:ext uri="{1162E1C5-73C7-4A58-AE30-91384D911F3F}">
                <p184:classification xmlns:p184="http://schemas.microsoft.com/office/powerpoint/2018/4/main" val="ftr"/>
              </p:ext>
            </p:extLst>
          </p:nvPr>
        </p:nvSpPr>
        <p:spPr>
          <a:xfrm>
            <a:off x="5636387" y="6611620"/>
            <a:ext cx="947738" cy="182880"/>
          </a:xfrm>
          <a:prstGeom prst="rect">
            <a:avLst/>
          </a:prstGeom>
        </p:spPr>
        <p:txBody>
          <a:bodyPr horzOverflow="overflow" lIns="0" tIns="0" rIns="0" bIns="0">
            <a:spAutoFit/>
          </a:bodyPr>
          <a:lstStyle/>
          <a:p>
            <a:pPr algn="l"/>
            <a:r>
              <a:rPr lang="en-US" sz="1200">
                <a:solidFill>
                  <a:srgbClr val="C00000"/>
                </a:solidFill>
                <a:latin typeface="BMW Group Condensed" panose="020B0606020202020204" pitchFamily="34" charset="0"/>
              </a:rPr>
              <a:t>CONFIDENTIAL</a:t>
            </a:r>
          </a:p>
        </p:txBody>
      </p:sp>
    </p:spTree>
    <p:extLst>
      <p:ext uri="{BB962C8B-B14F-4D97-AF65-F5344CB8AC3E}">
        <p14:creationId xmlns:p14="http://schemas.microsoft.com/office/powerpoint/2010/main" val="1288936597"/>
      </p:ext>
    </p:extLst>
  </p:cSld>
  <p:clrMap bg1="lt1" tx1="dk1" bg2="lt2" tx2="dk2" accent1="accent1" accent2="accent2" accent3="accent3" accent4="accent4" accent5="accent5" accent6="accent6" hlink="hlink" folHlink="folHlink"/>
  <p:sldLayoutIdLst>
    <p:sldLayoutId id="2147483696"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3" r:id="rId14"/>
    <p:sldLayoutId id="2147483714" r:id="rId15"/>
    <p:sldLayoutId id="2147483715" r:id="rId16"/>
    <p:sldLayoutId id="2147483716" r:id="rId17"/>
    <p:sldLayoutId id="2147483717" r:id="rId18"/>
    <p:sldLayoutId id="2147483718" r:id="rId19"/>
    <p:sldLayoutId id="2147483719" r:id="rId20"/>
  </p:sldLayoutIdLst>
  <p:hf sldNum="0" hdr="0" ftr="0" dt="0"/>
  <p:txStyles>
    <p:titleStyle>
      <a:lvl1pPr algn="l" defTabSz="914400" rtl="0" eaLnBrk="1" latinLnBrk="0" hangingPunct="1">
        <a:lnSpc>
          <a:spcPct val="100000"/>
        </a:lnSpc>
        <a:spcBef>
          <a:spcPts val="0"/>
        </a:spcBef>
        <a:spcAft>
          <a:spcPts val="0"/>
        </a:spcAft>
        <a:buNone/>
        <a:defRPr sz="2600" b="0" kern="1200" cap="all" baseline="0">
          <a:solidFill>
            <a:schemeClr val="tx2"/>
          </a:solidFill>
          <a:latin typeface="+mj-lt"/>
          <a:ea typeface="+mj-ea"/>
          <a:cs typeface="+mj-cs"/>
        </a:defRPr>
      </a:lvl1pPr>
    </p:titleStyle>
    <p:bodyStyle>
      <a:lvl1pPr marL="190800" indent="-190800" algn="l" defTabSz="914400" rtl="0" eaLnBrk="1" latinLnBrk="0" hangingPunct="1">
        <a:lnSpc>
          <a:spcPct val="100000"/>
        </a:lnSpc>
        <a:spcBef>
          <a:spcPts val="0"/>
        </a:spcBef>
        <a:spcAft>
          <a:spcPts val="600"/>
        </a:spcAft>
        <a:buClr>
          <a:schemeClr val="tx2"/>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302" userDrawn="1">
          <p15:clr>
            <a:srgbClr val="F26B43"/>
          </p15:clr>
        </p15:guide>
        <p15:guide id="7" orient="horz" pos="217" userDrawn="1">
          <p15:clr>
            <a:srgbClr val="F26B43"/>
          </p15:clr>
        </p15:guide>
        <p15:guide id="8" pos="7378" userDrawn="1">
          <p15:clr>
            <a:srgbClr val="F26B43"/>
          </p15:clr>
        </p15:guide>
        <p15:guide id="9" orient="horz" pos="890" userDrawn="1">
          <p15:clr>
            <a:srgbClr val="F26B43"/>
          </p15:clr>
        </p15:guide>
        <p15:guide id="10" orient="horz" pos="3974" userDrawn="1">
          <p15:clr>
            <a:srgbClr val="F26B43"/>
          </p15:clr>
        </p15:guide>
        <p15:guide id="11" orient="horz" pos="4139"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6.jpeg"/><Relationship Id="rId5" Type="http://schemas.openxmlformats.org/officeDocument/2006/relationships/image" Target="../media/image1.emf"/><Relationship Id="rId10" Type="http://schemas.openxmlformats.org/officeDocument/2006/relationships/image" Target="../media/image10.svg"/><Relationship Id="rId4" Type="http://schemas.openxmlformats.org/officeDocument/2006/relationships/oleObject" Target="../embeddings/oleObject21.bin"/><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7.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28.bin"/><Relationship Id="rId5" Type="http://schemas.openxmlformats.org/officeDocument/2006/relationships/notesSlide" Target="../notesSlides/notesSlide9.xml"/><Relationship Id="rId4"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48.xml"/><Relationship Id="rId7" Type="http://schemas.openxmlformats.org/officeDocument/2006/relationships/image" Target="../media/image16.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29.bin"/><Relationship Id="rId5" Type="http://schemas.openxmlformats.org/officeDocument/2006/relationships/notesSlide" Target="../notesSlides/notesSlide10.xml"/><Relationship Id="rId4" Type="http://schemas.openxmlformats.org/officeDocument/2006/relationships/slideLayout" Target="../slideLayouts/slideLayout3.xml"/><Relationship Id="rId9"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oleObject" Target="../embeddings/oleObject30.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6.emf"/><Relationship Id="rId5" Type="http://schemas.openxmlformats.org/officeDocument/2006/relationships/oleObject" Target="../embeddings/oleObject31.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oleObject" Target="../embeddings/oleObject32.bin"/><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oleObject" Target="../embeddings/oleObject33.bin"/><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6.emf"/><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oleObject" Target="../embeddings/oleObject34.bin"/><Relationship Id="rId5" Type="http://schemas.openxmlformats.org/officeDocument/2006/relationships/notesSlide" Target="../notesSlides/notesSlide15.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6.xml"/><Relationship Id="rId7" Type="http://schemas.openxmlformats.org/officeDocument/2006/relationships/image" Target="../media/image1.emf"/><Relationship Id="rId12" Type="http://schemas.openxmlformats.org/officeDocument/2006/relationships/image" Target="../media/image15.jpe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22.bin"/><Relationship Id="rId11" Type="http://schemas.openxmlformats.org/officeDocument/2006/relationships/image" Target="../media/image14.svg"/><Relationship Id="rId5" Type="http://schemas.openxmlformats.org/officeDocument/2006/relationships/notesSlide" Target="../notesSlides/notesSlide2.xml"/><Relationship Id="rId10" Type="http://schemas.openxmlformats.org/officeDocument/2006/relationships/image" Target="../media/image13.png"/><Relationship Id="rId4" Type="http://schemas.openxmlformats.org/officeDocument/2006/relationships/slideLayout" Target="../slideLayouts/slideLayout3.xml"/><Relationship Id="rId9" Type="http://schemas.openxmlformats.org/officeDocument/2006/relationships/image" Target="../media/image12.svg"/></Relationships>
</file>

<file path=ppt/slides/_rels/slide20.xml.rels><?xml version="1.0" encoding="UTF-8" standalone="yes"?>
<Relationships xmlns="http://schemas.openxmlformats.org/package/2006/relationships"><Relationship Id="rId8" Type="http://schemas.openxmlformats.org/officeDocument/2006/relationships/image" Target="../media/image35.bin"/><Relationship Id="rId13" Type="http://schemas.openxmlformats.org/officeDocument/2006/relationships/chart" Target="../charts/chart5.xml"/><Relationship Id="rId3" Type="http://schemas.openxmlformats.org/officeDocument/2006/relationships/tags" Target="../tags/tag65.xml"/><Relationship Id="rId7" Type="http://schemas.openxmlformats.org/officeDocument/2006/relationships/image" Target="../media/image16.emf"/><Relationship Id="rId12" Type="http://schemas.openxmlformats.org/officeDocument/2006/relationships/chart" Target="../charts/chart4.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oleObject" Target="../embeddings/oleObject35.bin"/><Relationship Id="rId11" Type="http://schemas.openxmlformats.org/officeDocument/2006/relationships/chart" Target="../charts/chart3.xml"/><Relationship Id="rId5" Type="http://schemas.openxmlformats.org/officeDocument/2006/relationships/notesSlide" Target="../notesSlides/notesSlide16.xml"/><Relationship Id="rId10" Type="http://schemas.openxmlformats.org/officeDocument/2006/relationships/image" Target="../media/image37.bin"/><Relationship Id="rId4" Type="http://schemas.openxmlformats.org/officeDocument/2006/relationships/slideLayout" Target="../slideLayouts/slideLayout3.xml"/><Relationship Id="rId9" Type="http://schemas.openxmlformats.org/officeDocument/2006/relationships/image" Target="../media/image36.bin"/></Relationships>
</file>

<file path=ppt/slides/_rels/slide2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17.xml"/><Relationship Id="rId7" Type="http://schemas.openxmlformats.org/officeDocument/2006/relationships/image" Target="../media/image39.jpeg"/><Relationship Id="rId2" Type="http://schemas.openxmlformats.org/officeDocument/2006/relationships/slideLayout" Target="../slideLayouts/slideLayout3.xml"/><Relationship Id="rId1" Type="http://schemas.openxmlformats.org/officeDocument/2006/relationships/tags" Target="../tags/tag66.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36.bin"/><Relationship Id="rId9" Type="http://schemas.openxmlformats.org/officeDocument/2006/relationships/image" Target="../media/image41.jpe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9.xml"/><Relationship Id="rId1" Type="http://schemas.openxmlformats.org/officeDocument/2006/relationships/tags" Target="../tags/tag67.xml"/><Relationship Id="rId5" Type="http://schemas.openxmlformats.org/officeDocument/2006/relationships/image" Target="../media/image42.jpe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68.x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24.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1.svg"/><Relationship Id="rId18" Type="http://schemas.openxmlformats.org/officeDocument/2006/relationships/image" Target="../media/image54.png"/><Relationship Id="rId3" Type="http://schemas.openxmlformats.org/officeDocument/2006/relationships/notesSlide" Target="../notesSlides/notesSlide19.xml"/><Relationship Id="rId7" Type="http://schemas.openxmlformats.org/officeDocument/2006/relationships/image" Target="../media/image45.jpeg"/><Relationship Id="rId12" Type="http://schemas.openxmlformats.org/officeDocument/2006/relationships/image" Target="../media/image50.png"/><Relationship Id="rId17" Type="http://schemas.openxmlformats.org/officeDocument/2006/relationships/image" Target="../media/image53.svg"/><Relationship Id="rId2" Type="http://schemas.openxmlformats.org/officeDocument/2006/relationships/slideLayout" Target="../slideLayouts/slideLayout3.xml"/><Relationship Id="rId16" Type="http://schemas.openxmlformats.org/officeDocument/2006/relationships/image" Target="../media/image52.png"/><Relationship Id="rId1" Type="http://schemas.openxmlformats.org/officeDocument/2006/relationships/tags" Target="../tags/tag69.xml"/><Relationship Id="rId6" Type="http://schemas.openxmlformats.org/officeDocument/2006/relationships/image" Target="../media/image44.jpeg"/><Relationship Id="rId11" Type="http://schemas.openxmlformats.org/officeDocument/2006/relationships/image" Target="../media/image49.jpeg"/><Relationship Id="rId5" Type="http://schemas.openxmlformats.org/officeDocument/2006/relationships/image" Target="../media/image1.emf"/><Relationship Id="rId15" Type="http://schemas.openxmlformats.org/officeDocument/2006/relationships/image" Target="../media/image14.svg"/><Relationship Id="rId10" Type="http://schemas.openxmlformats.org/officeDocument/2006/relationships/image" Target="../media/image48.jpeg"/><Relationship Id="rId19" Type="http://schemas.openxmlformats.org/officeDocument/2006/relationships/image" Target="../media/image55.svg"/><Relationship Id="rId4" Type="http://schemas.openxmlformats.org/officeDocument/2006/relationships/oleObject" Target="../embeddings/oleObject39.bin"/><Relationship Id="rId9" Type="http://schemas.openxmlformats.org/officeDocument/2006/relationships/image" Target="../media/image47.jpeg"/><Relationship Id="rId14" Type="http://schemas.openxmlformats.org/officeDocument/2006/relationships/image" Target="../media/image1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70.xml"/><Relationship Id="rId6" Type="http://schemas.openxmlformats.org/officeDocument/2006/relationships/image" Target="../media/image56.jpe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26.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notesSlide" Target="../notesSlides/notesSlide21.xml"/><Relationship Id="rId7" Type="http://schemas.openxmlformats.org/officeDocument/2006/relationships/image" Target="../media/image58.jpeg"/><Relationship Id="rId2" Type="http://schemas.openxmlformats.org/officeDocument/2006/relationships/slideLayout" Target="../slideLayouts/slideLayout3.xml"/><Relationship Id="rId1" Type="http://schemas.openxmlformats.org/officeDocument/2006/relationships/tags" Target="../tags/tag71.xml"/><Relationship Id="rId6" Type="http://schemas.openxmlformats.org/officeDocument/2006/relationships/image" Target="../media/image57.jpeg"/><Relationship Id="rId5" Type="http://schemas.openxmlformats.org/officeDocument/2006/relationships/image" Target="../media/image1.emf"/><Relationship Id="rId4" Type="http://schemas.openxmlformats.org/officeDocument/2006/relationships/oleObject" Target="../embeddings/oleObject41.bin"/><Relationship Id="rId9" Type="http://schemas.openxmlformats.org/officeDocument/2006/relationships/image" Target="../media/image60.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72.xml"/><Relationship Id="rId6" Type="http://schemas.openxmlformats.org/officeDocument/2006/relationships/image" Target="../media/image61.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63.jpeg"/><Relationship Id="rId2" Type="http://schemas.openxmlformats.org/officeDocument/2006/relationships/slideLayout" Target="../slideLayouts/slideLayout3.xml"/><Relationship Id="rId1" Type="http://schemas.openxmlformats.org/officeDocument/2006/relationships/tags" Target="../tags/tag73.xml"/><Relationship Id="rId6" Type="http://schemas.openxmlformats.org/officeDocument/2006/relationships/image" Target="../media/image62.jpe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29.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notesSlide" Target="../notesSlides/notesSlide24.xml"/><Relationship Id="rId7" Type="http://schemas.openxmlformats.org/officeDocument/2006/relationships/image" Target="../media/image65.jpeg"/><Relationship Id="rId2" Type="http://schemas.openxmlformats.org/officeDocument/2006/relationships/slideLayout" Target="../slideLayouts/slideLayout3.xml"/><Relationship Id="rId1" Type="http://schemas.openxmlformats.org/officeDocument/2006/relationships/tags" Target="../tags/tag74.xml"/><Relationship Id="rId6" Type="http://schemas.openxmlformats.org/officeDocument/2006/relationships/image" Target="../media/image64.jpeg"/><Relationship Id="rId5" Type="http://schemas.openxmlformats.org/officeDocument/2006/relationships/image" Target="../media/image1.emf"/><Relationship Id="rId4" Type="http://schemas.openxmlformats.org/officeDocument/2006/relationships/oleObject" Target="../embeddings/oleObject44.bin"/><Relationship Id="rId9" Type="http://schemas.openxmlformats.org/officeDocument/2006/relationships/image" Target="../media/image67.jpe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tags" Target="../tags/tag29.xml"/><Relationship Id="rId7" Type="http://schemas.openxmlformats.org/officeDocument/2006/relationships/image" Target="../media/image16.emf"/><Relationship Id="rId12"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23.bin"/><Relationship Id="rId11" Type="http://schemas.openxmlformats.org/officeDocument/2006/relationships/image" Target="../media/image12.svg"/><Relationship Id="rId5" Type="http://schemas.openxmlformats.org/officeDocument/2006/relationships/notesSlide" Target="../notesSlides/notesSlide3.xml"/><Relationship Id="rId10" Type="http://schemas.openxmlformats.org/officeDocument/2006/relationships/image" Target="../media/image11.png"/><Relationship Id="rId4" Type="http://schemas.openxmlformats.org/officeDocument/2006/relationships/slideLayout" Target="../slideLayouts/slideLayout3.xml"/><Relationship Id="rId9" Type="http://schemas.openxmlformats.org/officeDocument/2006/relationships/image" Target="../media/image10.sv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9.xml"/><Relationship Id="rId1" Type="http://schemas.openxmlformats.org/officeDocument/2006/relationships/tags" Target="../tags/tag75.xml"/><Relationship Id="rId5" Type="http://schemas.openxmlformats.org/officeDocument/2006/relationships/image" Target="../media/image68.jpe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notesSlide" Target="../notesSlides/notesSlide25.xml"/><Relationship Id="rId7" Type="http://schemas.openxmlformats.org/officeDocument/2006/relationships/image" Target="../media/image70.jpeg"/><Relationship Id="rId2" Type="http://schemas.openxmlformats.org/officeDocument/2006/relationships/slideLayout" Target="../slideLayouts/slideLayout3.xml"/><Relationship Id="rId1" Type="http://schemas.openxmlformats.org/officeDocument/2006/relationships/tags" Target="../tags/tag76.xml"/><Relationship Id="rId6" Type="http://schemas.openxmlformats.org/officeDocument/2006/relationships/image" Target="../media/image69.jpeg"/><Relationship Id="rId5" Type="http://schemas.openxmlformats.org/officeDocument/2006/relationships/image" Target="../media/image1.emf"/><Relationship Id="rId4" Type="http://schemas.openxmlformats.org/officeDocument/2006/relationships/oleObject" Target="../embeddings/oleObject46.bin"/><Relationship Id="rId9" Type="http://schemas.openxmlformats.org/officeDocument/2006/relationships/image" Target="../media/image72.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77.xml"/><Relationship Id="rId6" Type="http://schemas.openxmlformats.org/officeDocument/2006/relationships/image" Target="../media/image73.jpe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75.jpeg"/><Relationship Id="rId2" Type="http://schemas.openxmlformats.org/officeDocument/2006/relationships/slideLayout" Target="../slideLayouts/slideLayout3.xml"/><Relationship Id="rId1" Type="http://schemas.openxmlformats.org/officeDocument/2006/relationships/tags" Target="../tags/tag78.xml"/><Relationship Id="rId6" Type="http://schemas.openxmlformats.org/officeDocument/2006/relationships/image" Target="../media/image74.jpe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77.jpeg"/><Relationship Id="rId2" Type="http://schemas.openxmlformats.org/officeDocument/2006/relationships/slideLayout" Target="../slideLayouts/slideLayout3.xml"/><Relationship Id="rId1" Type="http://schemas.openxmlformats.org/officeDocument/2006/relationships/tags" Target="../tags/tag79.xml"/><Relationship Id="rId6" Type="http://schemas.openxmlformats.org/officeDocument/2006/relationships/image" Target="../media/image76.jpe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35.xml.rels><?xml version="1.0" encoding="UTF-8" standalone="yes"?>
<Relationships xmlns="http://schemas.openxmlformats.org/package/2006/relationships"><Relationship Id="rId8" Type="http://schemas.openxmlformats.org/officeDocument/2006/relationships/image" Target="../media/image80.jpeg"/><Relationship Id="rId13" Type="http://schemas.openxmlformats.org/officeDocument/2006/relationships/image" Target="../media/image85.jpeg"/><Relationship Id="rId3" Type="http://schemas.openxmlformats.org/officeDocument/2006/relationships/notesSlide" Target="../notesSlides/notesSlide29.xml"/><Relationship Id="rId7" Type="http://schemas.openxmlformats.org/officeDocument/2006/relationships/image" Target="../media/image79.jpeg"/><Relationship Id="rId12" Type="http://schemas.openxmlformats.org/officeDocument/2006/relationships/image" Target="../media/image84.jpeg"/><Relationship Id="rId2" Type="http://schemas.openxmlformats.org/officeDocument/2006/relationships/slideLayout" Target="../slideLayouts/slideLayout3.xml"/><Relationship Id="rId1" Type="http://schemas.openxmlformats.org/officeDocument/2006/relationships/tags" Target="../tags/tag80.xml"/><Relationship Id="rId6" Type="http://schemas.openxmlformats.org/officeDocument/2006/relationships/image" Target="../media/image78.jpeg"/><Relationship Id="rId11" Type="http://schemas.openxmlformats.org/officeDocument/2006/relationships/image" Target="../media/image83.jpeg"/><Relationship Id="rId5" Type="http://schemas.openxmlformats.org/officeDocument/2006/relationships/image" Target="../media/image1.emf"/><Relationship Id="rId10" Type="http://schemas.openxmlformats.org/officeDocument/2006/relationships/image" Target="../media/image82.jpeg"/><Relationship Id="rId4" Type="http://schemas.openxmlformats.org/officeDocument/2006/relationships/oleObject" Target="../embeddings/oleObject50.bin"/><Relationship Id="rId9" Type="http://schemas.openxmlformats.org/officeDocument/2006/relationships/image" Target="../media/image81.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19.xml"/><Relationship Id="rId1" Type="http://schemas.openxmlformats.org/officeDocument/2006/relationships/tags" Target="../tags/tag83.xml"/><Relationship Id="rId5" Type="http://schemas.openxmlformats.org/officeDocument/2006/relationships/image" Target="../media/image86.jpe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86.xml"/><Relationship Id="rId7" Type="http://schemas.openxmlformats.org/officeDocument/2006/relationships/oleObject" Target="../embeddings/oleObject54.bin"/><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notesSlide" Target="../notesSlides/notesSlide32.xml"/><Relationship Id="rId5" Type="http://schemas.openxmlformats.org/officeDocument/2006/relationships/slideLayout" Target="../slideLayouts/slideLayout3.xml"/><Relationship Id="rId4" Type="http://schemas.openxmlformats.org/officeDocument/2006/relationships/tags" Target="../tags/tag87.xml"/><Relationship Id="rId9"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4.svg"/><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90.xml"/><Relationship Id="rId7" Type="http://schemas.openxmlformats.org/officeDocument/2006/relationships/oleObject" Target="../embeddings/oleObject55.bin"/><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notesSlide" Target="../notesSlides/notesSlide33.xml"/><Relationship Id="rId5" Type="http://schemas.openxmlformats.org/officeDocument/2006/relationships/slideLayout" Target="../slideLayouts/slideLayout3.xml"/><Relationship Id="rId4" Type="http://schemas.openxmlformats.org/officeDocument/2006/relationships/tags" Target="../tags/tag91.xml"/><Relationship Id="rId9" Type="http://schemas.openxmlformats.org/officeDocument/2006/relationships/chart" Target="../charts/chart7.xml"/></Relationships>
</file>

<file path=ppt/slides/_rels/slide41.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7.emf"/><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oleObject" Target="../embeddings/oleObject56.bin"/><Relationship Id="rId5" Type="http://schemas.openxmlformats.org/officeDocument/2006/relationships/notesSlide" Target="../notesSlides/notesSlide34.xml"/><Relationship Id="rId4"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97.xml"/><Relationship Id="rId7" Type="http://schemas.openxmlformats.org/officeDocument/2006/relationships/oleObject" Target="../embeddings/oleObject57.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notesSlide" Target="../notesSlides/notesSlide35.xml"/><Relationship Id="rId5" Type="http://schemas.openxmlformats.org/officeDocument/2006/relationships/slideLayout" Target="../slideLayouts/slideLayout3.xml"/><Relationship Id="rId4" Type="http://schemas.openxmlformats.org/officeDocument/2006/relationships/tags" Target="../tags/tag98.xml"/></Relationships>
</file>

<file path=ppt/slides/_rels/slide43.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17.emf"/><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oleObject" Target="../embeddings/oleObject58.bin"/><Relationship Id="rId5" Type="http://schemas.openxmlformats.org/officeDocument/2006/relationships/notesSlide" Target="../notesSlides/notesSlide36.xml"/><Relationship Id="rId4"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8" Type="http://schemas.openxmlformats.org/officeDocument/2006/relationships/image" Target="../media/image87.jpg"/><Relationship Id="rId3" Type="http://schemas.openxmlformats.org/officeDocument/2006/relationships/tags" Target="../tags/tag104.xml"/><Relationship Id="rId7" Type="http://schemas.openxmlformats.org/officeDocument/2006/relationships/image" Target="../media/image17.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oleObject" Target="../embeddings/oleObject59.bin"/><Relationship Id="rId5" Type="http://schemas.openxmlformats.org/officeDocument/2006/relationships/notesSlide" Target="../notesSlides/notesSlide37.xml"/><Relationship Id="rId4"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7.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60.bin"/><Relationship Id="rId5" Type="http://schemas.openxmlformats.org/officeDocument/2006/relationships/notesSlide" Target="../notesSlides/notesSlide38.xml"/><Relationship Id="rId4"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17.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oleObject" Target="../embeddings/oleObject61.bin"/><Relationship Id="rId5" Type="http://schemas.openxmlformats.org/officeDocument/2006/relationships/notesSlide" Target="../notesSlides/notesSlide39.xml"/><Relationship Id="rId4"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7.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oleObject" Target="../embeddings/oleObject62.bin"/><Relationship Id="rId5" Type="http://schemas.openxmlformats.org/officeDocument/2006/relationships/notesSlide" Target="../notesSlides/notesSlide40.xml"/><Relationship Id="rId4"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16.xml"/><Relationship Id="rId7" Type="http://schemas.openxmlformats.org/officeDocument/2006/relationships/image" Target="../media/image16.emf"/><Relationship Id="rId12" Type="http://schemas.microsoft.com/office/2007/relationships/diagramDrawing" Target="../diagrams/drawing1.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oleObject" Target="../embeddings/oleObject63.bin"/><Relationship Id="rId11" Type="http://schemas.openxmlformats.org/officeDocument/2006/relationships/diagramColors" Target="../diagrams/colors1.xml"/><Relationship Id="rId5" Type="http://schemas.openxmlformats.org/officeDocument/2006/relationships/notesSlide" Target="../notesSlides/notesSlide41.xml"/><Relationship Id="rId10" Type="http://schemas.openxmlformats.org/officeDocument/2006/relationships/diagramQuickStyle" Target="../diagrams/quickStyle1.xml"/><Relationship Id="rId4" Type="http://schemas.openxmlformats.org/officeDocument/2006/relationships/slideLayout" Target="../slideLayouts/slideLayout3.xml"/><Relationship Id="rId9" Type="http://schemas.openxmlformats.org/officeDocument/2006/relationships/diagramLayout" Target="../diagrams/layout1.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7.emf"/><Relationship Id="rId5" Type="http://schemas.openxmlformats.org/officeDocument/2006/relationships/oleObject" Target="../embeddings/oleObject64.bin"/><Relationship Id="rId4" Type="http://schemas.openxmlformats.org/officeDocument/2006/relationships/notesSlide" Target="../notesSlides/notesSlide42.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2.xml"/><Relationship Id="rId7" Type="http://schemas.openxmlformats.org/officeDocument/2006/relationships/image" Target="../media/image17.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24.bin"/><Relationship Id="rId11" Type="http://schemas.openxmlformats.org/officeDocument/2006/relationships/image" Target="../media/image14.svg"/><Relationship Id="rId5" Type="http://schemas.openxmlformats.org/officeDocument/2006/relationships/notesSlide" Target="../notesSlides/notesSlide4.xml"/><Relationship Id="rId10" Type="http://schemas.openxmlformats.org/officeDocument/2006/relationships/image" Target="../media/image13.png"/><Relationship Id="rId4" Type="http://schemas.openxmlformats.org/officeDocument/2006/relationships/slideLayout" Target="../slideLayouts/slideLayout3.xml"/><Relationship Id="rId9" Type="http://schemas.openxmlformats.org/officeDocument/2006/relationships/image" Target="../media/image12.svg"/></Relationships>
</file>

<file path=ppt/slides/_rels/slide5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5.xml"/><Relationship Id="rId7" Type="http://schemas.openxmlformats.org/officeDocument/2006/relationships/image" Target="../media/image17.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25.bin"/><Relationship Id="rId11" Type="http://schemas.openxmlformats.org/officeDocument/2006/relationships/image" Target="../media/image14.svg"/><Relationship Id="rId5" Type="http://schemas.openxmlformats.org/officeDocument/2006/relationships/notesSlide" Target="../notesSlides/notesSlide5.xml"/><Relationship Id="rId10" Type="http://schemas.openxmlformats.org/officeDocument/2006/relationships/image" Target="../media/image13.png"/><Relationship Id="rId4" Type="http://schemas.openxmlformats.org/officeDocument/2006/relationships/slideLayout" Target="../slideLayouts/slideLayout3.xml"/><Relationship Id="rId9" Type="http://schemas.openxmlformats.org/officeDocument/2006/relationships/image" Target="../media/image12.sv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tags" Target="../tags/tag38.xml"/><Relationship Id="rId7" Type="http://schemas.openxmlformats.org/officeDocument/2006/relationships/image" Target="../media/image16.emf"/><Relationship Id="rId12" Type="http://schemas.openxmlformats.org/officeDocument/2006/relationships/image" Target="../media/image22.png"/><Relationship Id="rId17" Type="http://schemas.openxmlformats.org/officeDocument/2006/relationships/image" Target="../media/image14.svg"/><Relationship Id="rId2" Type="http://schemas.openxmlformats.org/officeDocument/2006/relationships/tags" Target="../tags/tag37.xml"/><Relationship Id="rId16" Type="http://schemas.openxmlformats.org/officeDocument/2006/relationships/image" Target="../media/image13.png"/><Relationship Id="rId1" Type="http://schemas.openxmlformats.org/officeDocument/2006/relationships/tags" Target="../tags/tag36.xml"/><Relationship Id="rId6" Type="http://schemas.openxmlformats.org/officeDocument/2006/relationships/oleObject" Target="../embeddings/oleObject26.bin"/><Relationship Id="rId11" Type="http://schemas.openxmlformats.org/officeDocument/2006/relationships/image" Target="../media/image21.png"/><Relationship Id="rId5" Type="http://schemas.openxmlformats.org/officeDocument/2006/relationships/notesSlide" Target="../notesSlides/notesSlide6.xml"/><Relationship Id="rId15" Type="http://schemas.openxmlformats.org/officeDocument/2006/relationships/image" Target="../media/image12.svg"/><Relationship Id="rId10" Type="http://schemas.openxmlformats.org/officeDocument/2006/relationships/image" Target="../media/image20.png"/><Relationship Id="rId4" Type="http://schemas.openxmlformats.org/officeDocument/2006/relationships/slideLayout" Target="../slideLayouts/slideLayout3.xml"/><Relationship Id="rId9" Type="http://schemas.openxmlformats.org/officeDocument/2006/relationships/image" Target="../media/image19.jpeg"/><Relationship Id="rId14"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7.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tags" Target="../tags/tag39.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1.emf"/><Relationship Id="rId10" Type="http://schemas.openxmlformats.org/officeDocument/2006/relationships/image" Target="../media/image28.png"/><Relationship Id="rId4" Type="http://schemas.openxmlformats.org/officeDocument/2006/relationships/oleObject" Target="../embeddings/oleObject27.bin"/><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2.xml"/><Relationship Id="rId7" Type="http://schemas.openxmlformats.org/officeDocument/2006/relationships/image" Target="../media/image1.emf"/><Relationship Id="rId12" Type="http://schemas.openxmlformats.org/officeDocument/2006/relationships/image" Target="../media/image31.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22.bin"/><Relationship Id="rId11" Type="http://schemas.openxmlformats.org/officeDocument/2006/relationships/image" Target="../media/image14.svg"/><Relationship Id="rId5" Type="http://schemas.openxmlformats.org/officeDocument/2006/relationships/notesSlide" Target="../notesSlides/notesSlide8.xml"/><Relationship Id="rId10" Type="http://schemas.openxmlformats.org/officeDocument/2006/relationships/image" Target="../media/image13.png"/><Relationship Id="rId4" Type="http://schemas.openxmlformats.org/officeDocument/2006/relationships/slideLayout" Target="../slideLayouts/slideLayout3.xml"/><Relationship Id="rId9" Type="http://schemas.openxmlformats.org/officeDocument/2006/relationships/image" Target="../media/image1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84E1BA67-0C14-40DE-B72B-4BC218A05A06}"/>
              </a:ext>
            </a:extLst>
          </p:cNvPr>
          <p:cNvGraphicFramePr>
            <a:graphicFrameLocks noChangeAspect="1"/>
          </p:cNvGraphicFramePr>
          <p:nvPr>
            <p:custDataLst>
              <p:tags r:id="rId1"/>
            </p:custDataLst>
            <p:extLst>
              <p:ext uri="{D42A27DB-BD31-4B8C-83A1-F6EECF244321}">
                <p14:modId xmlns:p14="http://schemas.microsoft.com/office/powerpoint/2010/main" val="3853045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2" name="Objekt 11" hidden="1">
                        <a:extLst>
                          <a:ext uri="{FF2B5EF4-FFF2-40B4-BE49-F238E27FC236}">
                            <a16:creationId xmlns:a16="http://schemas.microsoft.com/office/drawing/2014/main" id="{84E1BA67-0C14-40DE-B72B-4BC218A05A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DA9F49C6-27EC-446E-84BB-E52231F9D7FE}"/>
              </a:ext>
            </a:extLst>
          </p:cNvPr>
          <p:cNvPicPr>
            <a:picLocks/>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192000" cy="6570663"/>
          </a:xfrm>
          <a:prstGeom prst="rect">
            <a:avLst/>
          </a:prstGeom>
        </p:spPr>
      </p:pic>
      <p:sp>
        <p:nvSpPr>
          <p:cNvPr id="3" name="Titel 2">
            <a:extLst>
              <a:ext uri="{FF2B5EF4-FFF2-40B4-BE49-F238E27FC236}">
                <a16:creationId xmlns:a16="http://schemas.microsoft.com/office/drawing/2014/main" id="{61429D07-D168-4A9A-B3A0-9FCB306BFC3D}"/>
              </a:ext>
            </a:extLst>
          </p:cNvPr>
          <p:cNvSpPr>
            <a:spLocks noGrp="1"/>
          </p:cNvSpPr>
          <p:nvPr>
            <p:ph type="title"/>
          </p:nvPr>
        </p:nvSpPr>
        <p:spPr>
          <a:xfrm>
            <a:off x="345057" y="3228945"/>
            <a:ext cx="11363285" cy="420029"/>
          </a:xfrm>
        </p:spPr>
        <p:txBody>
          <a:bodyPr vert="horz"/>
          <a:lstStyle/>
          <a:p>
            <a:r>
              <a:rPr lang="de-DE" noProof="1">
                <a:solidFill>
                  <a:schemeClr val="bg1"/>
                </a:solidFill>
              </a:rPr>
              <a:t>Data driven decision support system for global manufacturing plants</a:t>
            </a:r>
          </a:p>
        </p:txBody>
      </p:sp>
      <p:pic>
        <p:nvPicPr>
          <p:cNvPr id="5" name="Graphic 4">
            <a:extLst>
              <a:ext uri="{FF2B5EF4-FFF2-40B4-BE49-F238E27FC236}">
                <a16:creationId xmlns:a16="http://schemas.microsoft.com/office/drawing/2014/main" id="{3D028D1C-2A29-A4AB-A3CC-D9D44870AE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32965" y="377224"/>
            <a:ext cx="2240977" cy="420029"/>
          </a:xfrm>
          <a:prstGeom prst="rect">
            <a:avLst/>
          </a:prstGeom>
        </p:spPr>
      </p:pic>
      <p:pic>
        <p:nvPicPr>
          <p:cNvPr id="18" name="Graphic 17">
            <a:extLst>
              <a:ext uri="{FF2B5EF4-FFF2-40B4-BE49-F238E27FC236}">
                <a16:creationId xmlns:a16="http://schemas.microsoft.com/office/drawing/2014/main" id="{C3CF7E7F-2C15-966B-72E7-E89EAE32E70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78893" y="284999"/>
            <a:ext cx="954417" cy="497702"/>
          </a:xfrm>
          <a:prstGeom prst="rect">
            <a:avLst/>
          </a:prstGeom>
        </p:spPr>
      </p:pic>
      <p:sp>
        <p:nvSpPr>
          <p:cNvPr id="19" name="TextBox 18">
            <a:extLst>
              <a:ext uri="{FF2B5EF4-FFF2-40B4-BE49-F238E27FC236}">
                <a16:creationId xmlns:a16="http://schemas.microsoft.com/office/drawing/2014/main" id="{A4D8786E-279E-E6E8-7972-1AEDF7F88129}"/>
              </a:ext>
            </a:extLst>
          </p:cNvPr>
          <p:cNvSpPr txBox="1"/>
          <p:nvPr/>
        </p:nvSpPr>
        <p:spPr>
          <a:xfrm>
            <a:off x="345057" y="5236234"/>
            <a:ext cx="1550104" cy="630942"/>
          </a:xfrm>
          <a:prstGeom prst="rect">
            <a:avLst/>
          </a:prstGeom>
        </p:spPr>
        <p:txBody>
          <a:bodyPr vert="horz" wrap="none" lIns="0" tIns="0" rIns="0" bIns="0" rtlCol="0">
            <a:spAutoFit/>
          </a:bodyPr>
          <a:lstStyle/>
          <a:p>
            <a:pPr algn="l" defTabSz="914400" rtl="0" eaLnBrk="1" latinLnBrk="0" hangingPunct="1">
              <a:lnSpc>
                <a:spcPct val="100000"/>
              </a:lnSpc>
              <a:spcBef>
                <a:spcPts val="0"/>
              </a:spcBef>
              <a:spcAft>
                <a:spcPts val="600"/>
              </a:spcAft>
              <a:buClr>
                <a:schemeClr val="tx2"/>
              </a:buClr>
            </a:pPr>
            <a:r>
              <a:rPr lang="en-US" sz="1800" kern="1200" dirty="0">
                <a:solidFill>
                  <a:schemeClr val="bg1"/>
                </a:solidFill>
                <a:latin typeface="+mn-lt"/>
                <a:ea typeface="+mn-ea"/>
                <a:cs typeface="+mn-cs"/>
              </a:rPr>
              <a:t>KEVIN JOSEPH T</a:t>
            </a:r>
          </a:p>
          <a:p>
            <a:pPr algn="l" defTabSz="914400" rtl="0" eaLnBrk="1" latinLnBrk="0" hangingPunct="1">
              <a:lnSpc>
                <a:spcPct val="100000"/>
              </a:lnSpc>
              <a:spcBef>
                <a:spcPts val="0"/>
              </a:spcBef>
              <a:spcAft>
                <a:spcPts val="600"/>
              </a:spcAft>
              <a:buClr>
                <a:schemeClr val="tx2"/>
              </a:buClr>
            </a:pPr>
            <a:r>
              <a:rPr lang="en-US" dirty="0">
                <a:solidFill>
                  <a:schemeClr val="bg1"/>
                </a:solidFill>
              </a:rPr>
              <a:t>7176 22 33 023</a:t>
            </a:r>
            <a:endParaRPr lang="en-US" sz="1800" kern="1200" dirty="0">
              <a:solidFill>
                <a:schemeClr val="bg1"/>
              </a:solidFill>
              <a:latin typeface="+mn-lt"/>
              <a:ea typeface="+mn-ea"/>
              <a:cs typeface="+mn-cs"/>
            </a:endParaRPr>
          </a:p>
        </p:txBody>
      </p:sp>
      <p:sp>
        <p:nvSpPr>
          <p:cNvPr id="20" name="TextBox 19">
            <a:extLst>
              <a:ext uri="{FF2B5EF4-FFF2-40B4-BE49-F238E27FC236}">
                <a16:creationId xmlns:a16="http://schemas.microsoft.com/office/drawing/2014/main" id="{8F4ED48D-8D92-FBFA-F26C-40864C0150BB}"/>
              </a:ext>
            </a:extLst>
          </p:cNvPr>
          <p:cNvSpPr txBox="1"/>
          <p:nvPr/>
        </p:nvSpPr>
        <p:spPr>
          <a:xfrm>
            <a:off x="8521074" y="5348378"/>
            <a:ext cx="3452868" cy="276999"/>
          </a:xfrm>
          <a:prstGeom prst="rect">
            <a:avLst/>
          </a:prstGeom>
        </p:spPr>
        <p:txBody>
          <a:bodyPr vert="horz" wrap="none" lIns="0" tIns="0" rIns="0" bIns="0" rtlCol="0">
            <a:spAutoFit/>
          </a:bodyPr>
          <a:lstStyle/>
          <a:p>
            <a:pPr algn="l" defTabSz="914400" rtl="0" eaLnBrk="1" latinLnBrk="0" hangingPunct="1">
              <a:lnSpc>
                <a:spcPct val="100000"/>
              </a:lnSpc>
              <a:spcBef>
                <a:spcPts val="0"/>
              </a:spcBef>
              <a:spcAft>
                <a:spcPts val="600"/>
              </a:spcAft>
              <a:buClr>
                <a:schemeClr val="tx2"/>
              </a:buClr>
            </a:pPr>
            <a:r>
              <a:rPr lang="en-US" dirty="0">
                <a:solidFill>
                  <a:schemeClr val="bg1"/>
                </a:solidFill>
              </a:rPr>
              <a:t>PROJECT GUIDE: DR . V .RADHAMANI</a:t>
            </a:r>
            <a:endParaRPr lang="en-US" sz="1800" kern="1200" dirty="0">
              <a:solidFill>
                <a:schemeClr val="bg1"/>
              </a:solidFill>
              <a:latin typeface="+mn-lt"/>
              <a:ea typeface="+mn-ea"/>
              <a:cs typeface="+mn-cs"/>
            </a:endParaRPr>
          </a:p>
        </p:txBody>
      </p:sp>
    </p:spTree>
    <p:extLst>
      <p:ext uri="{BB962C8B-B14F-4D97-AF65-F5344CB8AC3E}">
        <p14:creationId xmlns:p14="http://schemas.microsoft.com/office/powerpoint/2010/main" val="2029349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9F7F9-20F9-30D3-AD8B-E45E837E3678}"/>
              </a:ext>
            </a:extLst>
          </p:cNvPr>
          <p:cNvSpPr>
            <a:spLocks noGrp="1"/>
          </p:cNvSpPr>
          <p:nvPr>
            <p:ph type="title"/>
          </p:nvPr>
        </p:nvSpPr>
        <p:spPr/>
        <p:txBody>
          <a:bodyPr/>
          <a:lstStyle/>
          <a:p>
            <a:endParaRPr lang="en-GB"/>
          </a:p>
        </p:txBody>
      </p:sp>
      <p:pic>
        <p:nvPicPr>
          <p:cNvPr id="4" name="Picture 3">
            <a:extLst>
              <a:ext uri="{FF2B5EF4-FFF2-40B4-BE49-F238E27FC236}">
                <a16:creationId xmlns:a16="http://schemas.microsoft.com/office/drawing/2014/main" id="{27A04DAC-F92B-32AB-D68E-E2BE3D7295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76009"/>
            <a:ext cx="12125325" cy="5364773"/>
          </a:xfrm>
          <a:prstGeom prst="rect">
            <a:avLst/>
          </a:prstGeom>
        </p:spPr>
      </p:pic>
    </p:spTree>
    <p:extLst>
      <p:ext uri="{BB962C8B-B14F-4D97-AF65-F5344CB8AC3E}">
        <p14:creationId xmlns:p14="http://schemas.microsoft.com/office/powerpoint/2010/main" val="30198194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17143-0E02-D08F-B229-D73A320047D9}"/>
              </a:ext>
            </a:extLst>
          </p:cNvPr>
          <p:cNvSpPr>
            <a:spLocks noGrp="1"/>
          </p:cNvSpPr>
          <p:nvPr>
            <p:ph type="title"/>
          </p:nvPr>
        </p:nvSpPr>
        <p:spPr/>
        <p:txBody>
          <a:bodyPr/>
          <a:lstStyle/>
          <a:p>
            <a:endParaRPr lang="en-GB"/>
          </a:p>
        </p:txBody>
      </p:sp>
      <p:pic>
        <p:nvPicPr>
          <p:cNvPr id="4" name="Picture 3">
            <a:extLst>
              <a:ext uri="{FF2B5EF4-FFF2-40B4-BE49-F238E27FC236}">
                <a16:creationId xmlns:a16="http://schemas.microsoft.com/office/drawing/2014/main" id="{DD24D8AA-039C-2F7F-7AE2-E2C967276E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27247"/>
            <a:ext cx="12192000" cy="5403505"/>
          </a:xfrm>
          <a:prstGeom prst="rect">
            <a:avLst/>
          </a:prstGeom>
        </p:spPr>
      </p:pic>
    </p:spTree>
    <p:extLst>
      <p:ext uri="{BB962C8B-B14F-4D97-AF65-F5344CB8AC3E}">
        <p14:creationId xmlns:p14="http://schemas.microsoft.com/office/powerpoint/2010/main" val="1867312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2855B-D589-B696-7490-3B829457739F}"/>
              </a:ext>
            </a:extLst>
          </p:cNvPr>
          <p:cNvSpPr>
            <a:spLocks noGrp="1"/>
          </p:cNvSpPr>
          <p:nvPr>
            <p:ph type="title"/>
          </p:nvPr>
        </p:nvSpPr>
        <p:spPr/>
        <p:txBody>
          <a:bodyPr/>
          <a:lstStyle/>
          <a:p>
            <a:endParaRPr lang="en-GB"/>
          </a:p>
        </p:txBody>
      </p:sp>
      <p:pic>
        <p:nvPicPr>
          <p:cNvPr id="4" name="Picture 3">
            <a:extLst>
              <a:ext uri="{FF2B5EF4-FFF2-40B4-BE49-F238E27FC236}">
                <a16:creationId xmlns:a16="http://schemas.microsoft.com/office/drawing/2014/main" id="{239E2A13-DDB3-62F7-4912-7B8FFD7355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289992"/>
            <a:ext cx="12192000" cy="2278016"/>
          </a:xfrm>
          <a:prstGeom prst="rect">
            <a:avLst/>
          </a:prstGeom>
        </p:spPr>
      </p:pic>
    </p:spTree>
    <p:extLst>
      <p:ext uri="{BB962C8B-B14F-4D97-AF65-F5344CB8AC3E}">
        <p14:creationId xmlns:p14="http://schemas.microsoft.com/office/powerpoint/2010/main" val="35179316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B130BF4-5F9D-4E0F-9A84-446B241201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7" name="Objekt 6" hidden="1">
                        <a:extLst>
                          <a:ext uri="{FF2B5EF4-FFF2-40B4-BE49-F238E27FC236}">
                            <a16:creationId xmlns:a16="http://schemas.microsoft.com/office/drawing/2014/main" id="{0B130BF4-5F9D-4E0F-9A84-446B2412016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71A5354-8D4B-46F1-B1AF-0E3903F16558}"/>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2" name="Titel 1"/>
          <p:cNvSpPr>
            <a:spLocks noGrp="1"/>
          </p:cNvSpPr>
          <p:nvPr>
            <p:ph type="title"/>
          </p:nvPr>
        </p:nvSpPr>
        <p:spPr/>
        <p:txBody>
          <a:bodyPr/>
          <a:lstStyle/>
          <a:p>
            <a:r>
              <a:rPr lang="en-GB" altLang="de-DE" noProof="1"/>
              <a:t>Center Spheres.</a:t>
            </a:r>
            <a:endParaRPr lang="en-GB" dirty="0"/>
          </a:p>
        </p:txBody>
      </p:sp>
      <p:sp>
        <p:nvSpPr>
          <p:cNvPr id="8" name="Ellipse 7"/>
          <p:cNvSpPr/>
          <p:nvPr/>
        </p:nvSpPr>
        <p:spPr>
          <a:xfrm>
            <a:off x="5198982" y="2865360"/>
            <a:ext cx="1804613" cy="1804613"/>
          </a:xfrm>
          <a:prstGeom prst="ellipse">
            <a:avLst/>
          </a:prstGeom>
          <a:gradFill flip="none" rotWithShape="1">
            <a:gsLst>
              <a:gs pos="0">
                <a:schemeClr val="accent2"/>
              </a:gs>
              <a:gs pos="71000">
                <a:schemeClr val="tx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GB" sz="2400" dirty="0">
                <a:solidFill>
                  <a:schemeClr val="bg1"/>
                </a:solidFill>
              </a:rPr>
              <a:t>Outside-In</a:t>
            </a:r>
          </a:p>
        </p:txBody>
      </p:sp>
      <p:sp>
        <p:nvSpPr>
          <p:cNvPr id="15" name="Mond 14">
            <a:extLst>
              <a:ext uri="{FF2B5EF4-FFF2-40B4-BE49-F238E27FC236}">
                <a16:creationId xmlns:a16="http://schemas.microsoft.com/office/drawing/2014/main" id="{877EE1C2-E7AB-4F85-A011-791A8CF53EDB}"/>
              </a:ext>
            </a:extLst>
          </p:cNvPr>
          <p:cNvSpPr/>
          <p:nvPr/>
        </p:nvSpPr>
        <p:spPr>
          <a:xfrm>
            <a:off x="8642555" y="3962400"/>
            <a:ext cx="45719" cy="45719"/>
          </a:xfrm>
          <a:prstGeom prst="mo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8" name="Freihandform: Form 27">
            <a:extLst>
              <a:ext uri="{FF2B5EF4-FFF2-40B4-BE49-F238E27FC236}">
                <a16:creationId xmlns:a16="http://schemas.microsoft.com/office/drawing/2014/main" id="{2C5127E3-79EE-4F6C-A7BA-D822CE476AE3}"/>
              </a:ext>
            </a:extLst>
          </p:cNvPr>
          <p:cNvSpPr>
            <a:spLocks/>
          </p:cNvSpPr>
          <p:nvPr/>
        </p:nvSpPr>
        <p:spPr>
          <a:xfrm>
            <a:off x="6195558" y="1418958"/>
            <a:ext cx="2254738" cy="2254442"/>
          </a:xfrm>
          <a:custGeom>
            <a:avLst/>
            <a:gdLst>
              <a:gd name="connsiteX0" fmla="*/ 0 w 2254738"/>
              <a:gd name="connsiteY0" fmla="*/ 0 h 2254442"/>
              <a:gd name="connsiteX1" fmla="*/ 146361 w 2254738"/>
              <a:gd name="connsiteY1" fmla="*/ 7391 h 2254442"/>
              <a:gd name="connsiteX2" fmla="*/ 2248511 w 2254738"/>
              <a:gd name="connsiteY2" fmla="*/ 2122928 h 2254442"/>
              <a:gd name="connsiteX3" fmla="*/ 2254738 w 2254738"/>
              <a:gd name="connsiteY3" fmla="*/ 2254442 h 2254442"/>
              <a:gd name="connsiteX4" fmla="*/ 955623 w 2254738"/>
              <a:gd name="connsiteY4" fmla="*/ 2254442 h 2254442"/>
              <a:gd name="connsiteX5" fmla="*/ 955297 w 2254738"/>
              <a:gd name="connsiteY5" fmla="*/ 2247559 h 2254442"/>
              <a:gd name="connsiteX6" fmla="*/ 13534 w 2254738"/>
              <a:gd name="connsiteY6" fmla="*/ 1299799 h 2254442"/>
              <a:gd name="connsiteX7" fmla="*/ 0 w 2254738"/>
              <a:gd name="connsiteY7" fmla="*/ 1299116 h 2254442"/>
              <a:gd name="connsiteX8" fmla="*/ 0 w 2254738"/>
              <a:gd name="connsiteY8" fmla="*/ 0 h 225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4738" h="2254442">
                <a:moveTo>
                  <a:pt x="0" y="0"/>
                </a:moveTo>
                <a:lnTo>
                  <a:pt x="146361" y="7391"/>
                </a:lnTo>
                <a:cubicBezTo>
                  <a:pt x="1258940" y="120380"/>
                  <a:pt x="2142422" y="1008324"/>
                  <a:pt x="2248511" y="2122928"/>
                </a:cubicBezTo>
                <a:lnTo>
                  <a:pt x="2254738" y="2254442"/>
                </a:lnTo>
                <a:lnTo>
                  <a:pt x="955623" y="2254442"/>
                </a:lnTo>
                <a:lnTo>
                  <a:pt x="955297" y="2247559"/>
                </a:lnTo>
                <a:cubicBezTo>
                  <a:pt x="907769" y="1748216"/>
                  <a:pt x="511970" y="1350418"/>
                  <a:pt x="13534" y="1299799"/>
                </a:cubicBezTo>
                <a:lnTo>
                  <a:pt x="0" y="1299116"/>
                </a:lnTo>
                <a:lnTo>
                  <a:pt x="0" y="0"/>
                </a:lnTo>
                <a:close/>
              </a:path>
            </a:pathLst>
          </a:custGeom>
          <a:solidFill>
            <a:schemeClr val="accent5"/>
          </a:solidFill>
          <a:ln w="9525">
            <a:solidFill>
              <a:schemeClr val="bg1">
                <a:lumMod val="75000"/>
              </a:schemeClr>
            </a:solidFill>
            <a:miter lim="800000"/>
            <a:headEnd/>
            <a:tailEnd/>
          </a:ln>
          <a:effectLst/>
        </p:spPr>
        <p:txBody>
          <a:bodyPr wrap="square">
            <a:noAutofit/>
          </a:bodyPr>
          <a:lstStyle/>
          <a:p>
            <a:endParaRPr lang="en-GB" dirty="0">
              <a:solidFill>
                <a:schemeClr val="tx1"/>
              </a:solidFill>
            </a:endParaRPr>
          </a:p>
        </p:txBody>
      </p:sp>
      <p:sp>
        <p:nvSpPr>
          <p:cNvPr id="25" name="Freihandform: Form 24">
            <a:extLst>
              <a:ext uri="{FF2B5EF4-FFF2-40B4-BE49-F238E27FC236}">
                <a16:creationId xmlns:a16="http://schemas.microsoft.com/office/drawing/2014/main" id="{E27FD873-B9F9-4313-B140-B956E68DEB1A}"/>
              </a:ext>
            </a:extLst>
          </p:cNvPr>
          <p:cNvSpPr>
            <a:spLocks/>
          </p:cNvSpPr>
          <p:nvPr/>
        </p:nvSpPr>
        <p:spPr>
          <a:xfrm>
            <a:off x="6195558" y="3861936"/>
            <a:ext cx="2254738" cy="2254440"/>
          </a:xfrm>
          <a:custGeom>
            <a:avLst/>
            <a:gdLst>
              <a:gd name="connsiteX0" fmla="*/ 955623 w 2254738"/>
              <a:gd name="connsiteY0" fmla="*/ 0 h 2254440"/>
              <a:gd name="connsiteX1" fmla="*/ 2254738 w 2254738"/>
              <a:gd name="connsiteY1" fmla="*/ 0 h 2254440"/>
              <a:gd name="connsiteX2" fmla="*/ 2248511 w 2254738"/>
              <a:gd name="connsiteY2" fmla="*/ 131512 h 2254440"/>
              <a:gd name="connsiteX3" fmla="*/ 146361 w 2254738"/>
              <a:gd name="connsiteY3" fmla="*/ 2247049 h 2254440"/>
              <a:gd name="connsiteX4" fmla="*/ 0 w 2254738"/>
              <a:gd name="connsiteY4" fmla="*/ 2254440 h 2254440"/>
              <a:gd name="connsiteX5" fmla="*/ 0 w 2254738"/>
              <a:gd name="connsiteY5" fmla="*/ 955325 h 2254440"/>
              <a:gd name="connsiteX6" fmla="*/ 13534 w 2254738"/>
              <a:gd name="connsiteY6" fmla="*/ 954641 h 2254440"/>
              <a:gd name="connsiteX7" fmla="*/ 955297 w 2254738"/>
              <a:gd name="connsiteY7" fmla="*/ 6881 h 2254440"/>
              <a:gd name="connsiteX8" fmla="*/ 955623 w 2254738"/>
              <a:gd name="connsiteY8" fmla="*/ 0 h 225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4738" h="2254440">
                <a:moveTo>
                  <a:pt x="955623" y="0"/>
                </a:moveTo>
                <a:lnTo>
                  <a:pt x="2254738" y="0"/>
                </a:lnTo>
                <a:lnTo>
                  <a:pt x="2248511" y="131512"/>
                </a:lnTo>
                <a:cubicBezTo>
                  <a:pt x="2142422" y="1246117"/>
                  <a:pt x="1258940" y="2134061"/>
                  <a:pt x="146361" y="2247049"/>
                </a:cubicBezTo>
                <a:lnTo>
                  <a:pt x="0" y="2254440"/>
                </a:lnTo>
                <a:lnTo>
                  <a:pt x="0" y="955325"/>
                </a:lnTo>
                <a:lnTo>
                  <a:pt x="13534" y="954641"/>
                </a:lnTo>
                <a:cubicBezTo>
                  <a:pt x="511970" y="904023"/>
                  <a:pt x="907769" y="506224"/>
                  <a:pt x="955297" y="6881"/>
                </a:cubicBezTo>
                <a:lnTo>
                  <a:pt x="955623" y="0"/>
                </a:lnTo>
                <a:close/>
              </a:path>
            </a:pathLst>
          </a:custGeom>
          <a:solidFill>
            <a:schemeClr val="accent5"/>
          </a:solidFill>
          <a:ln w="9525">
            <a:solidFill>
              <a:schemeClr val="bg1">
                <a:lumMod val="75000"/>
              </a:schemeClr>
            </a:solidFill>
            <a:miter lim="800000"/>
            <a:headEnd/>
            <a:tailEnd/>
          </a:ln>
          <a:effectLst/>
        </p:spPr>
        <p:txBody>
          <a:bodyPr wrap="square">
            <a:noAutofit/>
          </a:bodyPr>
          <a:lstStyle/>
          <a:p>
            <a:endParaRPr lang="en-GB" dirty="0">
              <a:solidFill>
                <a:schemeClr val="tx1"/>
              </a:solidFill>
            </a:endParaRPr>
          </a:p>
        </p:txBody>
      </p:sp>
      <p:sp>
        <p:nvSpPr>
          <p:cNvPr id="32" name="Freihandform: Form 31">
            <a:extLst>
              <a:ext uri="{FF2B5EF4-FFF2-40B4-BE49-F238E27FC236}">
                <a16:creationId xmlns:a16="http://schemas.microsoft.com/office/drawing/2014/main" id="{C2131C07-D1A9-4B09-ADB9-80DACC91F1E0}"/>
              </a:ext>
            </a:extLst>
          </p:cNvPr>
          <p:cNvSpPr>
            <a:spLocks/>
          </p:cNvSpPr>
          <p:nvPr/>
        </p:nvSpPr>
        <p:spPr>
          <a:xfrm flipH="1">
            <a:off x="3747821" y="1418958"/>
            <a:ext cx="2254738" cy="2254442"/>
          </a:xfrm>
          <a:custGeom>
            <a:avLst/>
            <a:gdLst>
              <a:gd name="connsiteX0" fmla="*/ 0 w 2254738"/>
              <a:gd name="connsiteY0" fmla="*/ 0 h 2254442"/>
              <a:gd name="connsiteX1" fmla="*/ 146361 w 2254738"/>
              <a:gd name="connsiteY1" fmla="*/ 7391 h 2254442"/>
              <a:gd name="connsiteX2" fmla="*/ 2248511 w 2254738"/>
              <a:gd name="connsiteY2" fmla="*/ 2122928 h 2254442"/>
              <a:gd name="connsiteX3" fmla="*/ 2254738 w 2254738"/>
              <a:gd name="connsiteY3" fmla="*/ 2254442 h 2254442"/>
              <a:gd name="connsiteX4" fmla="*/ 955623 w 2254738"/>
              <a:gd name="connsiteY4" fmla="*/ 2254442 h 2254442"/>
              <a:gd name="connsiteX5" fmla="*/ 955297 w 2254738"/>
              <a:gd name="connsiteY5" fmla="*/ 2247559 h 2254442"/>
              <a:gd name="connsiteX6" fmla="*/ 13534 w 2254738"/>
              <a:gd name="connsiteY6" fmla="*/ 1299799 h 2254442"/>
              <a:gd name="connsiteX7" fmla="*/ 0 w 2254738"/>
              <a:gd name="connsiteY7" fmla="*/ 1299116 h 2254442"/>
              <a:gd name="connsiteX8" fmla="*/ 0 w 2254738"/>
              <a:gd name="connsiteY8" fmla="*/ 0 h 225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4738" h="2254442">
                <a:moveTo>
                  <a:pt x="0" y="0"/>
                </a:moveTo>
                <a:lnTo>
                  <a:pt x="146361" y="7391"/>
                </a:lnTo>
                <a:cubicBezTo>
                  <a:pt x="1258940" y="120380"/>
                  <a:pt x="2142422" y="1008324"/>
                  <a:pt x="2248511" y="2122928"/>
                </a:cubicBezTo>
                <a:lnTo>
                  <a:pt x="2254738" y="2254442"/>
                </a:lnTo>
                <a:lnTo>
                  <a:pt x="955623" y="2254442"/>
                </a:lnTo>
                <a:lnTo>
                  <a:pt x="955297" y="2247559"/>
                </a:lnTo>
                <a:cubicBezTo>
                  <a:pt x="907769" y="1748216"/>
                  <a:pt x="511970" y="1350418"/>
                  <a:pt x="13534" y="1299799"/>
                </a:cubicBezTo>
                <a:lnTo>
                  <a:pt x="0" y="1299116"/>
                </a:lnTo>
                <a:lnTo>
                  <a:pt x="0" y="0"/>
                </a:lnTo>
                <a:close/>
              </a:path>
            </a:pathLst>
          </a:custGeom>
          <a:solidFill>
            <a:schemeClr val="accent5"/>
          </a:solidFill>
          <a:ln w="9525">
            <a:solidFill>
              <a:schemeClr val="bg1">
                <a:lumMod val="75000"/>
              </a:schemeClr>
            </a:solidFill>
            <a:miter lim="800000"/>
            <a:headEnd/>
            <a:tailEnd/>
          </a:ln>
          <a:effectLst/>
        </p:spPr>
        <p:txBody>
          <a:bodyPr wrap="square">
            <a:noAutofit/>
          </a:bodyPr>
          <a:lstStyle/>
          <a:p>
            <a:endParaRPr lang="en-GB" dirty="0">
              <a:solidFill>
                <a:schemeClr val="tx1"/>
              </a:solidFill>
            </a:endParaRPr>
          </a:p>
        </p:txBody>
      </p:sp>
      <p:sp>
        <p:nvSpPr>
          <p:cNvPr id="33" name="Freihandform: Form 32">
            <a:extLst>
              <a:ext uri="{FF2B5EF4-FFF2-40B4-BE49-F238E27FC236}">
                <a16:creationId xmlns:a16="http://schemas.microsoft.com/office/drawing/2014/main" id="{33C3950A-A489-4B7E-AABA-E59E618733D1}"/>
              </a:ext>
            </a:extLst>
          </p:cNvPr>
          <p:cNvSpPr>
            <a:spLocks/>
          </p:cNvSpPr>
          <p:nvPr/>
        </p:nvSpPr>
        <p:spPr>
          <a:xfrm flipH="1">
            <a:off x="3747821" y="3861936"/>
            <a:ext cx="2254738" cy="2254440"/>
          </a:xfrm>
          <a:custGeom>
            <a:avLst/>
            <a:gdLst>
              <a:gd name="connsiteX0" fmla="*/ 955623 w 2254738"/>
              <a:gd name="connsiteY0" fmla="*/ 0 h 2254440"/>
              <a:gd name="connsiteX1" fmla="*/ 2254738 w 2254738"/>
              <a:gd name="connsiteY1" fmla="*/ 0 h 2254440"/>
              <a:gd name="connsiteX2" fmla="*/ 2248511 w 2254738"/>
              <a:gd name="connsiteY2" fmla="*/ 131512 h 2254440"/>
              <a:gd name="connsiteX3" fmla="*/ 146361 w 2254738"/>
              <a:gd name="connsiteY3" fmla="*/ 2247049 h 2254440"/>
              <a:gd name="connsiteX4" fmla="*/ 0 w 2254738"/>
              <a:gd name="connsiteY4" fmla="*/ 2254440 h 2254440"/>
              <a:gd name="connsiteX5" fmla="*/ 0 w 2254738"/>
              <a:gd name="connsiteY5" fmla="*/ 955325 h 2254440"/>
              <a:gd name="connsiteX6" fmla="*/ 13534 w 2254738"/>
              <a:gd name="connsiteY6" fmla="*/ 954641 h 2254440"/>
              <a:gd name="connsiteX7" fmla="*/ 955297 w 2254738"/>
              <a:gd name="connsiteY7" fmla="*/ 6881 h 2254440"/>
              <a:gd name="connsiteX8" fmla="*/ 955623 w 2254738"/>
              <a:gd name="connsiteY8" fmla="*/ 0 h 225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4738" h="2254440">
                <a:moveTo>
                  <a:pt x="955623" y="0"/>
                </a:moveTo>
                <a:lnTo>
                  <a:pt x="2254738" y="0"/>
                </a:lnTo>
                <a:lnTo>
                  <a:pt x="2248511" y="131512"/>
                </a:lnTo>
                <a:cubicBezTo>
                  <a:pt x="2142422" y="1246117"/>
                  <a:pt x="1258940" y="2134061"/>
                  <a:pt x="146361" y="2247049"/>
                </a:cubicBezTo>
                <a:lnTo>
                  <a:pt x="0" y="2254440"/>
                </a:lnTo>
                <a:lnTo>
                  <a:pt x="0" y="955325"/>
                </a:lnTo>
                <a:lnTo>
                  <a:pt x="13534" y="954641"/>
                </a:lnTo>
                <a:cubicBezTo>
                  <a:pt x="511970" y="904023"/>
                  <a:pt x="907769" y="506224"/>
                  <a:pt x="955297" y="6881"/>
                </a:cubicBezTo>
                <a:lnTo>
                  <a:pt x="955623" y="0"/>
                </a:lnTo>
                <a:close/>
              </a:path>
            </a:pathLst>
          </a:custGeom>
          <a:solidFill>
            <a:schemeClr val="accent5"/>
          </a:solidFill>
          <a:ln w="9525">
            <a:solidFill>
              <a:schemeClr val="bg1">
                <a:lumMod val="75000"/>
              </a:schemeClr>
            </a:solidFill>
            <a:miter lim="800000"/>
            <a:headEnd/>
            <a:tailEnd/>
          </a:ln>
          <a:effectLst/>
        </p:spPr>
        <p:txBody>
          <a:bodyPr wrap="square">
            <a:noAutofit/>
          </a:bodyPr>
          <a:lstStyle/>
          <a:p>
            <a:endParaRPr lang="en-GB" dirty="0">
              <a:solidFill>
                <a:schemeClr val="tx1"/>
              </a:solidFill>
            </a:endParaRPr>
          </a:p>
        </p:txBody>
      </p:sp>
      <p:graphicFrame>
        <p:nvGraphicFramePr>
          <p:cNvPr id="13" name="Tabelle 12">
            <a:extLst>
              <a:ext uri="{FF2B5EF4-FFF2-40B4-BE49-F238E27FC236}">
                <a16:creationId xmlns:a16="http://schemas.microsoft.com/office/drawing/2014/main" id="{C7092FE3-C873-46DC-B152-6B4F568A8855}"/>
              </a:ext>
            </a:extLst>
          </p:cNvPr>
          <p:cNvGraphicFramePr>
            <a:graphicFrameLocks noGrp="1"/>
          </p:cNvGraphicFramePr>
          <p:nvPr/>
        </p:nvGraphicFramePr>
        <p:xfrm>
          <a:off x="482601" y="1416050"/>
          <a:ext cx="3165392" cy="1356410"/>
        </p:xfrm>
        <a:graphic>
          <a:graphicData uri="http://schemas.openxmlformats.org/drawingml/2006/table">
            <a:tbl>
              <a:tblPr firstRow="1" bandRow="1">
                <a:tableStyleId>{C083E6E3-FA7D-4D7B-A595-EF9225AFEA82}</a:tableStyleId>
              </a:tblPr>
              <a:tblGrid>
                <a:gridCol w="3165392">
                  <a:extLst>
                    <a:ext uri="{9D8B030D-6E8A-4147-A177-3AD203B41FA5}">
                      <a16:colId xmlns:a16="http://schemas.microsoft.com/office/drawing/2014/main" val="743653698"/>
                    </a:ext>
                  </a:extLst>
                </a:gridCol>
              </a:tblGrid>
              <a:tr h="370840">
                <a:tc>
                  <a:txBody>
                    <a:bodyPr/>
                    <a:lstStyle/>
                    <a:p>
                      <a:pPr algn="l"/>
                      <a:r>
                        <a:rPr lang="en-GB" sz="1800" b="0" dirty="0">
                          <a:solidFill>
                            <a:srgbClr val="000000"/>
                          </a:solidFill>
                          <a:latin typeface="+mn-lt"/>
                          <a:sym typeface="BMW Group Condensed" panose="020B0606020202020204" pitchFamily="34" charset="0"/>
                        </a:rPr>
                        <a:t>Placeholder</a:t>
                      </a: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576368964"/>
                  </a:ext>
                </a:extLst>
              </a:tr>
              <a:tr h="370840">
                <a:tc>
                  <a:txBody>
                    <a:bodyPr/>
                    <a:lstStyle/>
                    <a:p>
                      <a:pPr marL="0" indent="0" algn="l">
                        <a:lnSpc>
                          <a:spcPct val="93000"/>
                        </a:lnSpc>
                        <a:spcBef>
                          <a:spcPts val="0"/>
                        </a:spcBef>
                        <a:spcAft>
                          <a:spcPts val="600"/>
                        </a:spcAft>
                        <a:buClr>
                          <a:srgbClr val="7F7F7F"/>
                        </a:buClr>
                        <a:buFontTx/>
                        <a:buNone/>
                      </a:pPr>
                      <a:r>
                        <a:rPr lang="en-GB" sz="1800" b="0" dirty="0">
                          <a:solidFill>
                            <a:srgbClr val="000000"/>
                          </a:solidFill>
                          <a:latin typeface="+mn-lt"/>
                          <a:sym typeface="BMW Group Condensed" panose="020B0606020202020204" pitchFamily="34" charset="0"/>
                        </a:rPr>
                        <a:t>This is a placeholder text. </a:t>
                      </a:r>
                    </a:p>
                    <a:p>
                      <a:pPr marL="0" indent="0" algn="l">
                        <a:lnSpc>
                          <a:spcPct val="93000"/>
                        </a:lnSpc>
                        <a:spcBef>
                          <a:spcPts val="0"/>
                        </a:spcBef>
                        <a:spcAft>
                          <a:spcPts val="600"/>
                        </a:spcAft>
                        <a:buClr>
                          <a:srgbClr val="7F7F7F"/>
                        </a:buClr>
                        <a:buFontTx/>
                        <a:buNone/>
                      </a:pPr>
                      <a:r>
                        <a:rPr lang="en-GB" sz="1800" b="0" dirty="0">
                          <a:solidFill>
                            <a:srgbClr val="000000"/>
                          </a:solidFill>
                          <a:latin typeface="+mn-lt"/>
                          <a:sym typeface="BMW Group Condensed" panose="020B0606020202020204" pitchFamily="34" charset="0"/>
                        </a:rPr>
                        <a:t>This text can be replaced with your own text.</a:t>
                      </a:r>
                    </a:p>
                  </a:txBody>
                  <a:tcPr marL="72009" marR="72009" marT="108000"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462140247"/>
                  </a:ext>
                </a:extLst>
              </a:tr>
            </a:tbl>
          </a:graphicData>
        </a:graphic>
      </p:graphicFrame>
      <p:graphicFrame>
        <p:nvGraphicFramePr>
          <p:cNvPr id="14" name="Tabelle 13">
            <a:extLst>
              <a:ext uri="{FF2B5EF4-FFF2-40B4-BE49-F238E27FC236}">
                <a16:creationId xmlns:a16="http://schemas.microsoft.com/office/drawing/2014/main" id="{8A03E9D7-046C-4CA7-BD13-6D780C4B2B8C}"/>
              </a:ext>
            </a:extLst>
          </p:cNvPr>
          <p:cNvGraphicFramePr>
            <a:graphicFrameLocks noGrp="1"/>
          </p:cNvGraphicFramePr>
          <p:nvPr/>
        </p:nvGraphicFramePr>
        <p:xfrm>
          <a:off x="8556708" y="1416050"/>
          <a:ext cx="3165392" cy="1356410"/>
        </p:xfrm>
        <a:graphic>
          <a:graphicData uri="http://schemas.openxmlformats.org/drawingml/2006/table">
            <a:tbl>
              <a:tblPr firstRow="1" bandRow="1">
                <a:tableStyleId>{C083E6E3-FA7D-4D7B-A595-EF9225AFEA82}</a:tableStyleId>
              </a:tblPr>
              <a:tblGrid>
                <a:gridCol w="3165392">
                  <a:extLst>
                    <a:ext uri="{9D8B030D-6E8A-4147-A177-3AD203B41FA5}">
                      <a16:colId xmlns:a16="http://schemas.microsoft.com/office/drawing/2014/main" val="743653698"/>
                    </a:ext>
                  </a:extLst>
                </a:gridCol>
              </a:tblGrid>
              <a:tr h="370840">
                <a:tc>
                  <a:txBody>
                    <a:bodyPr/>
                    <a:lstStyle/>
                    <a:p>
                      <a:pPr algn="r"/>
                      <a:r>
                        <a:rPr lang="en-GB" sz="1800" b="0" dirty="0">
                          <a:solidFill>
                            <a:srgbClr val="000000"/>
                          </a:solidFill>
                          <a:latin typeface="+mn-lt"/>
                          <a:sym typeface="BMW Group Condensed" panose="020B0606020202020204" pitchFamily="34" charset="0"/>
                        </a:rPr>
                        <a:t>Placeholder</a:t>
                      </a: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576368964"/>
                  </a:ext>
                </a:extLst>
              </a:tr>
              <a:tr h="370840">
                <a:tc>
                  <a:txBody>
                    <a:bodyPr/>
                    <a:lstStyle/>
                    <a:p>
                      <a:pPr marL="0" indent="0" algn="r">
                        <a:lnSpc>
                          <a:spcPct val="93000"/>
                        </a:lnSpc>
                        <a:spcBef>
                          <a:spcPts val="0"/>
                        </a:spcBef>
                        <a:spcAft>
                          <a:spcPts val="600"/>
                        </a:spcAft>
                        <a:buClr>
                          <a:srgbClr val="7F7F7F"/>
                        </a:buClr>
                        <a:buFontTx/>
                        <a:buNone/>
                      </a:pPr>
                      <a:r>
                        <a:rPr lang="en-GB" sz="1800" b="0" dirty="0">
                          <a:solidFill>
                            <a:srgbClr val="000000"/>
                          </a:solidFill>
                          <a:latin typeface="+mn-lt"/>
                          <a:sym typeface="BMW Group Condensed" panose="020B0606020202020204" pitchFamily="34" charset="0"/>
                        </a:rPr>
                        <a:t>This is a placeholder text. </a:t>
                      </a:r>
                    </a:p>
                    <a:p>
                      <a:pPr marL="0" indent="0" algn="r">
                        <a:lnSpc>
                          <a:spcPct val="93000"/>
                        </a:lnSpc>
                        <a:spcBef>
                          <a:spcPts val="0"/>
                        </a:spcBef>
                        <a:spcAft>
                          <a:spcPts val="600"/>
                        </a:spcAft>
                        <a:buClr>
                          <a:srgbClr val="7F7F7F"/>
                        </a:buClr>
                        <a:buFontTx/>
                        <a:buNone/>
                      </a:pPr>
                      <a:r>
                        <a:rPr lang="en-GB" sz="1800" b="0" dirty="0">
                          <a:solidFill>
                            <a:srgbClr val="000000"/>
                          </a:solidFill>
                          <a:latin typeface="+mn-lt"/>
                          <a:sym typeface="BMW Group Condensed" panose="020B0606020202020204" pitchFamily="34" charset="0"/>
                        </a:rPr>
                        <a:t>This text can be replaced with your own text.</a:t>
                      </a:r>
                    </a:p>
                  </a:txBody>
                  <a:tcPr marL="72009" marR="72009" marT="108000"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462140247"/>
                  </a:ext>
                </a:extLst>
              </a:tr>
            </a:tbl>
          </a:graphicData>
        </a:graphic>
      </p:graphicFrame>
    </p:spTree>
    <p:custDataLst>
      <p:tags r:id="rId1"/>
    </p:custDataLst>
    <p:extLst>
      <p:ext uri="{BB962C8B-B14F-4D97-AF65-F5344CB8AC3E}">
        <p14:creationId xmlns:p14="http://schemas.microsoft.com/office/powerpoint/2010/main" val="4042478616"/>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58FD4AC-0D6C-4991-976F-6D471C0A680D}"/>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8" name="Freihandform 7"/>
          <p:cNvSpPr/>
          <p:nvPr/>
        </p:nvSpPr>
        <p:spPr>
          <a:xfrm>
            <a:off x="4197096" y="2026065"/>
            <a:ext cx="2560320" cy="3895310"/>
          </a:xfrm>
          <a:custGeom>
            <a:avLst/>
            <a:gdLst>
              <a:gd name="connsiteX0" fmla="*/ 1272208 w 1272208"/>
              <a:gd name="connsiteY0" fmla="*/ 0 h 3319670"/>
              <a:gd name="connsiteX1" fmla="*/ 1272208 w 1272208"/>
              <a:gd name="connsiteY1" fmla="*/ 3319670 h 3319670"/>
              <a:gd name="connsiteX2" fmla="*/ 0 w 1272208"/>
              <a:gd name="connsiteY2" fmla="*/ 2355574 h 3319670"/>
              <a:gd name="connsiteX3" fmla="*/ 0 w 1272208"/>
              <a:gd name="connsiteY3" fmla="*/ 854765 h 3319670"/>
              <a:gd name="connsiteX4" fmla="*/ 1272208 w 1272208"/>
              <a:gd name="connsiteY4" fmla="*/ 0 h 3319670"/>
              <a:gd name="connsiteX0" fmla="*/ 1878495 w 1878495"/>
              <a:gd name="connsiteY0" fmla="*/ 0 h 3319670"/>
              <a:gd name="connsiteX1" fmla="*/ 1878495 w 1878495"/>
              <a:gd name="connsiteY1" fmla="*/ 3319670 h 3319670"/>
              <a:gd name="connsiteX2" fmla="*/ 0 w 1878495"/>
              <a:gd name="connsiteY2" fmla="*/ 2802835 h 3319670"/>
              <a:gd name="connsiteX3" fmla="*/ 606287 w 1878495"/>
              <a:gd name="connsiteY3" fmla="*/ 854765 h 3319670"/>
              <a:gd name="connsiteX4" fmla="*/ 1878495 w 1878495"/>
              <a:gd name="connsiteY4" fmla="*/ 0 h 3319670"/>
              <a:gd name="connsiteX0" fmla="*/ 1878495 w 1878495"/>
              <a:gd name="connsiteY0" fmla="*/ 0 h 3319670"/>
              <a:gd name="connsiteX1" fmla="*/ 1878495 w 1878495"/>
              <a:gd name="connsiteY1" fmla="*/ 3319670 h 3319670"/>
              <a:gd name="connsiteX2" fmla="*/ 0 w 1878495"/>
              <a:gd name="connsiteY2" fmla="*/ 2802835 h 3319670"/>
              <a:gd name="connsiteX3" fmla="*/ 79513 w 1878495"/>
              <a:gd name="connsiteY3" fmla="*/ 894521 h 3319670"/>
              <a:gd name="connsiteX4" fmla="*/ 1878495 w 1878495"/>
              <a:gd name="connsiteY4" fmla="*/ 0 h 3319670"/>
              <a:gd name="connsiteX0" fmla="*/ 1878495 w 1878495"/>
              <a:gd name="connsiteY0" fmla="*/ 0 h 3319670"/>
              <a:gd name="connsiteX1" fmla="*/ 1878495 w 1878495"/>
              <a:gd name="connsiteY1" fmla="*/ 3319670 h 3319670"/>
              <a:gd name="connsiteX2" fmla="*/ 0 w 1878495"/>
              <a:gd name="connsiteY2" fmla="*/ 2802835 h 3319670"/>
              <a:gd name="connsiteX3" fmla="*/ 89452 w 1878495"/>
              <a:gd name="connsiteY3" fmla="*/ 914399 h 3319670"/>
              <a:gd name="connsiteX4" fmla="*/ 1878495 w 1878495"/>
              <a:gd name="connsiteY4" fmla="*/ 0 h 3319670"/>
              <a:gd name="connsiteX0" fmla="*/ 1878495 w 1878495"/>
              <a:gd name="connsiteY0" fmla="*/ 0 h 3319670"/>
              <a:gd name="connsiteX1" fmla="*/ 1878495 w 1878495"/>
              <a:gd name="connsiteY1" fmla="*/ 3319670 h 3319670"/>
              <a:gd name="connsiteX2" fmla="*/ 0 w 1878495"/>
              <a:gd name="connsiteY2" fmla="*/ 2802835 h 3319670"/>
              <a:gd name="connsiteX3" fmla="*/ 89452 w 1878495"/>
              <a:gd name="connsiteY3" fmla="*/ 907256 h 3319670"/>
              <a:gd name="connsiteX4" fmla="*/ 1878495 w 1878495"/>
              <a:gd name="connsiteY4" fmla="*/ 0 h 3319670"/>
              <a:gd name="connsiteX0" fmla="*/ 1878495 w 1878495"/>
              <a:gd name="connsiteY0" fmla="*/ 0 h 3319670"/>
              <a:gd name="connsiteX1" fmla="*/ 1878495 w 1878495"/>
              <a:gd name="connsiteY1" fmla="*/ 3319670 h 3319670"/>
              <a:gd name="connsiteX2" fmla="*/ 0 w 1878495"/>
              <a:gd name="connsiteY2" fmla="*/ 2802835 h 3319670"/>
              <a:gd name="connsiteX3" fmla="*/ 89452 w 1878495"/>
              <a:gd name="connsiteY3" fmla="*/ 904875 h 3319670"/>
              <a:gd name="connsiteX4" fmla="*/ 1878495 w 1878495"/>
              <a:gd name="connsiteY4" fmla="*/ 0 h 3319670"/>
              <a:gd name="connsiteX0" fmla="*/ 1883079 w 1883079"/>
              <a:gd name="connsiteY0" fmla="*/ 0 h 3319670"/>
              <a:gd name="connsiteX1" fmla="*/ 1883079 w 1883079"/>
              <a:gd name="connsiteY1" fmla="*/ 3319670 h 3319670"/>
              <a:gd name="connsiteX2" fmla="*/ 0 w 1883079"/>
              <a:gd name="connsiteY2" fmla="*/ 2805216 h 3319670"/>
              <a:gd name="connsiteX3" fmla="*/ 94036 w 1883079"/>
              <a:gd name="connsiteY3" fmla="*/ 904875 h 3319670"/>
              <a:gd name="connsiteX4" fmla="*/ 1883079 w 1883079"/>
              <a:gd name="connsiteY4" fmla="*/ 0 h 3319670"/>
              <a:gd name="connsiteX0" fmla="*/ 1883079 w 1883079"/>
              <a:gd name="connsiteY0" fmla="*/ 0 h 3319670"/>
              <a:gd name="connsiteX1" fmla="*/ 1883079 w 1883079"/>
              <a:gd name="connsiteY1" fmla="*/ 3319670 h 3319670"/>
              <a:gd name="connsiteX2" fmla="*/ 0 w 1883079"/>
              <a:gd name="connsiteY2" fmla="*/ 2805216 h 3319670"/>
              <a:gd name="connsiteX3" fmla="*/ 98619 w 1883079"/>
              <a:gd name="connsiteY3" fmla="*/ 970786 h 3319670"/>
              <a:gd name="connsiteX4" fmla="*/ 1883079 w 1883079"/>
              <a:gd name="connsiteY4" fmla="*/ 0 h 3319670"/>
              <a:gd name="connsiteX0" fmla="*/ 1880788 w 1880788"/>
              <a:gd name="connsiteY0" fmla="*/ 0 h 3319670"/>
              <a:gd name="connsiteX1" fmla="*/ 1880788 w 1880788"/>
              <a:gd name="connsiteY1" fmla="*/ 3319670 h 3319670"/>
              <a:gd name="connsiteX2" fmla="*/ 0 w 1880788"/>
              <a:gd name="connsiteY2" fmla="*/ 2737107 h 3319670"/>
              <a:gd name="connsiteX3" fmla="*/ 96328 w 1880788"/>
              <a:gd name="connsiteY3" fmla="*/ 970786 h 3319670"/>
              <a:gd name="connsiteX4" fmla="*/ 1880788 w 1880788"/>
              <a:gd name="connsiteY4" fmla="*/ 0 h 3319670"/>
              <a:gd name="connsiteX0" fmla="*/ 1890250 w 1890250"/>
              <a:gd name="connsiteY0" fmla="*/ 0 h 3319670"/>
              <a:gd name="connsiteX1" fmla="*/ 1890250 w 1890250"/>
              <a:gd name="connsiteY1" fmla="*/ 3319670 h 3319670"/>
              <a:gd name="connsiteX2" fmla="*/ 0 w 1890250"/>
              <a:gd name="connsiteY2" fmla="*/ 2544384 h 3319670"/>
              <a:gd name="connsiteX3" fmla="*/ 105790 w 1890250"/>
              <a:gd name="connsiteY3" fmla="*/ 970786 h 3319670"/>
              <a:gd name="connsiteX4" fmla="*/ 1890250 w 1890250"/>
              <a:gd name="connsiteY4" fmla="*/ 0 h 3319670"/>
              <a:gd name="connsiteX0" fmla="*/ 1890250 w 1890250"/>
              <a:gd name="connsiteY0" fmla="*/ 0 h 3319670"/>
              <a:gd name="connsiteX1" fmla="*/ 1890250 w 1890250"/>
              <a:gd name="connsiteY1" fmla="*/ 3319670 h 3319670"/>
              <a:gd name="connsiteX2" fmla="*/ 0 w 1890250"/>
              <a:gd name="connsiteY2" fmla="*/ 2544384 h 3319670"/>
              <a:gd name="connsiteX3" fmla="*/ 115252 w 1890250"/>
              <a:gd name="connsiteY3" fmla="*/ 903752 h 3319670"/>
              <a:gd name="connsiteX4" fmla="*/ 1890250 w 1890250"/>
              <a:gd name="connsiteY4" fmla="*/ 0 h 3319670"/>
              <a:gd name="connsiteX0" fmla="*/ 1880788 w 1880788"/>
              <a:gd name="connsiteY0" fmla="*/ 0 h 3319670"/>
              <a:gd name="connsiteX1" fmla="*/ 1880788 w 1880788"/>
              <a:gd name="connsiteY1" fmla="*/ 3319670 h 3319670"/>
              <a:gd name="connsiteX2" fmla="*/ 0 w 1880788"/>
              <a:gd name="connsiteY2" fmla="*/ 2536005 h 3319670"/>
              <a:gd name="connsiteX3" fmla="*/ 105790 w 1880788"/>
              <a:gd name="connsiteY3" fmla="*/ 903752 h 3319670"/>
              <a:gd name="connsiteX4" fmla="*/ 1880788 w 1880788"/>
              <a:gd name="connsiteY4" fmla="*/ 0 h 3319670"/>
              <a:gd name="connsiteX0" fmla="*/ 1867449 w 1867449"/>
              <a:gd name="connsiteY0" fmla="*/ 0 h 3319670"/>
              <a:gd name="connsiteX1" fmla="*/ 1867449 w 1867449"/>
              <a:gd name="connsiteY1" fmla="*/ 3319670 h 3319670"/>
              <a:gd name="connsiteX2" fmla="*/ 0 w 1867449"/>
              <a:gd name="connsiteY2" fmla="*/ 2512627 h 3319670"/>
              <a:gd name="connsiteX3" fmla="*/ 92451 w 1867449"/>
              <a:gd name="connsiteY3" fmla="*/ 903752 h 3319670"/>
              <a:gd name="connsiteX4" fmla="*/ 1867449 w 1867449"/>
              <a:gd name="connsiteY4" fmla="*/ 0 h 3319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7449" h="3319670">
                <a:moveTo>
                  <a:pt x="1867449" y="0"/>
                </a:moveTo>
                <a:lnTo>
                  <a:pt x="1867449" y="3319670"/>
                </a:lnTo>
                <a:lnTo>
                  <a:pt x="0" y="2512627"/>
                </a:lnTo>
                <a:lnTo>
                  <a:pt x="92451" y="903752"/>
                </a:lnTo>
                <a:lnTo>
                  <a:pt x="1867449" y="0"/>
                </a:lnTo>
                <a:close/>
              </a:path>
            </a:pathLst>
          </a:custGeom>
          <a:gradFill>
            <a:gsLst>
              <a:gs pos="0">
                <a:schemeClr val="bg1">
                  <a:lumMod val="85000"/>
                </a:scheme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err="1">
              <a:solidFill>
                <a:srgbClr val="666666"/>
              </a:solidFill>
              <a:latin typeface="BMW Group Condensed" panose="020B0606020202020204" pitchFamily="34" charset="0"/>
            </a:endParaRPr>
          </a:p>
        </p:txBody>
      </p:sp>
      <p:sp>
        <p:nvSpPr>
          <p:cNvPr id="162818" name="Rectangle 2"/>
          <p:cNvSpPr>
            <a:spLocks noGrp="1" noChangeArrowheads="1"/>
          </p:cNvSpPr>
          <p:nvPr>
            <p:ph type="title"/>
          </p:nvPr>
        </p:nvSpPr>
        <p:spPr>
          <a:xfrm>
            <a:off x="488947" y="347184"/>
            <a:ext cx="11224684" cy="372090"/>
          </a:xfrm>
        </p:spPr>
        <p:txBody>
          <a:bodyPr/>
          <a:lstStyle/>
          <a:p>
            <a:r>
              <a:rPr lang="en-GB" dirty="0"/>
              <a:t>Donut and bars for details.</a:t>
            </a:r>
          </a:p>
        </p:txBody>
      </p:sp>
      <p:graphicFrame>
        <p:nvGraphicFramePr>
          <p:cNvPr id="15" name="Diagramm 8"/>
          <p:cNvGraphicFramePr>
            <a:graphicFrameLocks noGrp="1"/>
          </p:cNvGraphicFramePr>
          <p:nvPr>
            <p:ph sz="quarter" idx="4294967295"/>
          </p:nvPr>
        </p:nvGraphicFramePr>
        <p:xfrm>
          <a:off x="6216119" y="2041525"/>
          <a:ext cx="5497512" cy="42672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Diagramm 15"/>
          <p:cNvGraphicFramePr/>
          <p:nvPr/>
        </p:nvGraphicFramePr>
        <p:xfrm>
          <a:off x="477838" y="2026065"/>
          <a:ext cx="4598666" cy="387055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1" name="Tabelle 10">
            <a:extLst>
              <a:ext uri="{FF2B5EF4-FFF2-40B4-BE49-F238E27FC236}">
                <a16:creationId xmlns:a16="http://schemas.microsoft.com/office/drawing/2014/main" id="{89D46C65-A905-4952-A57E-A9C6AB10A931}"/>
              </a:ext>
            </a:extLst>
          </p:cNvPr>
          <p:cNvGraphicFramePr>
            <a:graphicFrameLocks noGrp="1"/>
          </p:cNvGraphicFramePr>
          <p:nvPr/>
        </p:nvGraphicFramePr>
        <p:xfrm>
          <a:off x="6305555" y="1413933"/>
          <a:ext cx="5397500" cy="370840"/>
        </p:xfrm>
        <a:graphic>
          <a:graphicData uri="http://schemas.openxmlformats.org/drawingml/2006/table">
            <a:tbl>
              <a:tblPr firstRow="1" bandRow="1">
                <a:tableStyleId>{C083E6E3-FA7D-4D7B-A595-EF9225AFEA82}</a:tableStyleId>
              </a:tblPr>
              <a:tblGrid>
                <a:gridCol w="5397500">
                  <a:extLst>
                    <a:ext uri="{9D8B030D-6E8A-4147-A177-3AD203B41FA5}">
                      <a16:colId xmlns:a16="http://schemas.microsoft.com/office/drawing/2014/main" val="1204271254"/>
                    </a:ext>
                  </a:extLst>
                </a:gridCol>
              </a:tblGrid>
              <a:tr h="370840">
                <a:tc>
                  <a:txBody>
                    <a:bodyPr/>
                    <a:lstStyle/>
                    <a:p>
                      <a:pPr algn="l">
                        <a:lnSpc>
                          <a:spcPct val="93000"/>
                        </a:lnSpc>
                        <a:spcBef>
                          <a:spcPts val="0"/>
                        </a:spcBef>
                        <a:spcAft>
                          <a:spcPts val="600"/>
                        </a:spcAft>
                      </a:pPr>
                      <a:r>
                        <a:rPr lang="en-GB" sz="1800" b="0" dirty="0">
                          <a:solidFill>
                            <a:srgbClr val="000000"/>
                          </a:solidFill>
                          <a:latin typeface="+mn-lt"/>
                          <a:sym typeface="BMW Group Condensed" panose="020B0606020202020204" pitchFamily="34" charset="0"/>
                        </a:rPr>
                        <a:t>Diagram Title</a:t>
                      </a:r>
                    </a:p>
                  </a:txBody>
                  <a:tcPr marL="72009" marR="72009" marT="35941" marB="35941" anchor="ctr">
                    <a:lnL>
                      <a:noFill/>
                    </a:lnL>
                    <a:lnR>
                      <a:noFill/>
                    </a:lnR>
                    <a:lnT w="12700" cap="flat" cmpd="sng" algn="ctr">
                      <a:solidFill>
                        <a:schemeClr val="accent3">
                          <a:alpha val="0"/>
                        </a:schemeClr>
                      </a:solidFill>
                      <a:prstDash val="solid"/>
                      <a:round/>
                      <a:headEnd type="none" w="med" len="med"/>
                      <a:tailEnd type="none" w="med" len="med"/>
                    </a:lnT>
                    <a:lnB w="19050" cmpd="sng">
                      <a:solidFill>
                        <a:srgbClr val="7286AB"/>
                      </a:solidFill>
                      <a:prstDash val="solid"/>
                    </a:lnB>
                    <a:solidFill>
                      <a:schemeClr val="accent5"/>
                    </a:solidFill>
                  </a:tcPr>
                </a:tc>
                <a:extLst>
                  <a:ext uri="{0D108BD9-81ED-4DB2-BD59-A6C34878D82A}">
                    <a16:rowId xmlns:a16="http://schemas.microsoft.com/office/drawing/2014/main" val="1405024153"/>
                  </a:ext>
                </a:extLst>
              </a:tr>
            </a:tbl>
          </a:graphicData>
        </a:graphic>
      </p:graphicFrame>
      <p:sp>
        <p:nvSpPr>
          <p:cNvPr id="7" name="Textfeld 6">
            <a:extLst>
              <a:ext uri="{FF2B5EF4-FFF2-40B4-BE49-F238E27FC236}">
                <a16:creationId xmlns:a16="http://schemas.microsoft.com/office/drawing/2014/main" id="{7FC931C1-968D-4CB9-B1DE-29C6A42E2391}"/>
              </a:ext>
            </a:extLst>
          </p:cNvPr>
          <p:cNvSpPr txBox="1"/>
          <p:nvPr/>
        </p:nvSpPr>
        <p:spPr>
          <a:xfrm>
            <a:off x="488947" y="1460853"/>
            <a:ext cx="695703" cy="276999"/>
          </a:xfrm>
          <a:prstGeom prst="rect">
            <a:avLst/>
          </a:prstGeom>
          <a:noFill/>
        </p:spPr>
        <p:txBody>
          <a:bodyPr wrap="none" lIns="0" tIns="0" rIns="0" bIns="0" rtlCol="0">
            <a:spAutoFit/>
          </a:bodyPr>
          <a:lstStyle/>
          <a:p>
            <a:pPr algn="l">
              <a:spcAft>
                <a:spcPts val="600"/>
              </a:spcAft>
            </a:pPr>
            <a:r>
              <a:rPr lang="en-GB" dirty="0"/>
              <a:t>Subtitle</a:t>
            </a:r>
          </a:p>
        </p:txBody>
      </p:sp>
    </p:spTree>
    <p:custDataLst>
      <p:tags r:id="rId1"/>
    </p:custDataLst>
    <p:extLst>
      <p:ext uri="{BB962C8B-B14F-4D97-AF65-F5344CB8AC3E}">
        <p14:creationId xmlns:p14="http://schemas.microsoft.com/office/powerpoint/2010/main" val="1439328061"/>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B00FC8B-BC55-4A6A-BDB3-8724CC6437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9" name="Objekt 8" hidden="1">
                        <a:extLst>
                          <a:ext uri="{FF2B5EF4-FFF2-40B4-BE49-F238E27FC236}">
                            <a16:creationId xmlns:a16="http://schemas.microsoft.com/office/drawing/2014/main" id="{3B00FC8B-BC55-4A6A-BDB3-8724CC6437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8CD8519-9D64-4C3C-AAE2-734C4E0CFBB5}"/>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de-DE" sz="2600" b="1" dirty="0">
              <a:solidFill>
                <a:schemeClr val="tx1"/>
              </a:solidFill>
              <a:latin typeface="BMWGroupTN Condensed" pitchFamily="50" charset="0"/>
              <a:ea typeface="+mj-ea"/>
              <a:cs typeface="+mj-cs"/>
              <a:sym typeface="BMW Group Condensed" panose="020B0606020202020204" pitchFamily="34" charset="0"/>
            </a:endParaRPr>
          </a:p>
        </p:txBody>
      </p:sp>
      <p:sp>
        <p:nvSpPr>
          <p:cNvPr id="2" name="Titel 1"/>
          <p:cNvSpPr>
            <a:spLocks noGrp="1"/>
          </p:cNvSpPr>
          <p:nvPr>
            <p:ph type="title"/>
          </p:nvPr>
        </p:nvSpPr>
        <p:spPr/>
        <p:txBody>
          <a:bodyPr vert="horz"/>
          <a:lstStyle/>
          <a:p>
            <a:r>
              <a:rPr lang="de-DE" dirty="0"/>
              <a:t>Table </a:t>
            </a:r>
            <a:r>
              <a:rPr lang="de-DE" dirty="0" err="1"/>
              <a:t>with</a:t>
            </a:r>
            <a:r>
              <a:rPr lang="de-DE" dirty="0"/>
              <a:t> </a:t>
            </a:r>
            <a:r>
              <a:rPr lang="de-DE" dirty="0" err="1"/>
              <a:t>Placeholders</a:t>
            </a:r>
            <a:r>
              <a:rPr lang="de-DE" dirty="0"/>
              <a:t> </a:t>
            </a:r>
            <a:r>
              <a:rPr lang="de-DE" dirty="0" err="1"/>
              <a:t>for</a:t>
            </a:r>
            <a:r>
              <a:rPr lang="de-DE" dirty="0"/>
              <a:t> Pictures/</a:t>
            </a:r>
            <a:r>
              <a:rPr lang="de-DE" dirty="0" err="1"/>
              <a:t>Grafics</a:t>
            </a:r>
            <a:r>
              <a:rPr lang="de-DE" dirty="0"/>
              <a:t>.</a:t>
            </a:r>
            <a:br>
              <a:rPr lang="de-DE" dirty="0"/>
            </a:br>
            <a:r>
              <a:rPr lang="de-DE" dirty="0"/>
              <a:t>3x3.</a:t>
            </a:r>
          </a:p>
        </p:txBody>
      </p:sp>
      <p:graphicFrame>
        <p:nvGraphicFramePr>
          <p:cNvPr id="3" name="Tabelle 2"/>
          <p:cNvGraphicFramePr>
            <a:graphicFrameLocks noGrp="1"/>
          </p:cNvGraphicFramePr>
          <p:nvPr>
            <p:extLst>
              <p:ext uri="{D42A27DB-BD31-4B8C-83A1-F6EECF244321}">
                <p14:modId xmlns:p14="http://schemas.microsoft.com/office/powerpoint/2010/main" val="3519190482"/>
              </p:ext>
            </p:extLst>
          </p:nvPr>
        </p:nvGraphicFramePr>
        <p:xfrm>
          <a:off x="482600" y="1416049"/>
          <a:ext cx="11239500" cy="4711701"/>
        </p:xfrm>
        <a:graphic>
          <a:graphicData uri="http://schemas.openxmlformats.org/drawingml/2006/table">
            <a:tbl>
              <a:tblPr firstRow="1" bandRow="1">
                <a:tableStyleId>{5C22544A-7EE6-4342-B048-85BDC9FD1C3A}</a:tableStyleId>
              </a:tblPr>
              <a:tblGrid>
                <a:gridCol w="1752322">
                  <a:extLst>
                    <a:ext uri="{9D8B030D-6E8A-4147-A177-3AD203B41FA5}">
                      <a16:colId xmlns:a16="http://schemas.microsoft.com/office/drawing/2014/main" val="20000"/>
                    </a:ext>
                  </a:extLst>
                </a:gridCol>
                <a:gridCol w="4519561">
                  <a:extLst>
                    <a:ext uri="{9D8B030D-6E8A-4147-A177-3AD203B41FA5}">
                      <a16:colId xmlns:a16="http://schemas.microsoft.com/office/drawing/2014/main" val="20001"/>
                    </a:ext>
                  </a:extLst>
                </a:gridCol>
                <a:gridCol w="4967617">
                  <a:extLst>
                    <a:ext uri="{9D8B030D-6E8A-4147-A177-3AD203B41FA5}">
                      <a16:colId xmlns:a16="http://schemas.microsoft.com/office/drawing/2014/main" val="20003"/>
                    </a:ext>
                  </a:extLst>
                </a:gridCol>
              </a:tblGrid>
              <a:tr h="1570567">
                <a:tc>
                  <a:txBody>
                    <a:bodyPr/>
                    <a:lstStyle/>
                    <a:p>
                      <a:pPr algn="l">
                        <a:lnSpc>
                          <a:spcPct val="93000"/>
                        </a:lnSpc>
                      </a:pPr>
                      <a:r>
                        <a:rPr lang="de-DE" b="0" dirty="0">
                          <a:solidFill>
                            <a:srgbClr val="000000"/>
                          </a:solidFill>
                          <a:latin typeface="BMWGroupTN Condensed" pitchFamily="50" charset="0"/>
                          <a:sym typeface="BMW Group Condensed" panose="020B0606020202020204" pitchFamily="34" charset="0"/>
                        </a:rPr>
                        <a:t>Text</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b="0" baseline="0" dirty="0" err="1">
                          <a:solidFill>
                            <a:srgbClr val="000000"/>
                          </a:solidFill>
                          <a:latin typeface="BMWGroupTN Condensed" pitchFamily="50" charset="0"/>
                          <a:sym typeface="BMW Group Condensed" panose="020B0606020202020204" pitchFamily="34" charset="0"/>
                        </a:rPr>
                        <a:t>Lorem</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ipsum</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dolor</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sit</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amet</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consectetuer</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adipiscing</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elit</a:t>
                      </a:r>
                      <a:r>
                        <a:rPr lang="de-DE" b="0" baseline="0" dirty="0">
                          <a:solidFill>
                            <a:srgbClr val="000000"/>
                          </a:solidFill>
                          <a:latin typeface="BMWGroupTN Condensed" pitchFamily="50" charset="0"/>
                          <a:sym typeface="BMW Group Condensed" panose="020B0606020202020204" pitchFamily="34" charset="0"/>
                        </a:rPr>
                        <a:t>. </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570567">
                <a:tc>
                  <a:txBody>
                    <a:bodyPr/>
                    <a:lstStyle/>
                    <a:p>
                      <a:pPr algn="l">
                        <a:lnSpc>
                          <a:spcPct val="93000"/>
                        </a:lnSpc>
                      </a:pPr>
                      <a:r>
                        <a:rPr kumimoji="0" lang="de-DE" sz="1800" b="0" i="0" u="none" strike="noStrike" kern="1200" cap="none" spc="0" normalizeH="0" baseline="0" noProof="0" dirty="0">
                          <a:ln>
                            <a:noFill/>
                          </a:ln>
                          <a:solidFill>
                            <a:srgbClr val="000000"/>
                          </a:solidFill>
                          <a:effectLst/>
                          <a:uLnTx/>
                          <a:uFillTx/>
                          <a:latin typeface="BMWGroupTN Condensed" pitchFamily="50" charset="0"/>
                          <a:ea typeface="+mn-ea"/>
                          <a:cs typeface="+mn-cs"/>
                          <a:sym typeface="BMW Group Condensed" panose="020B0606020202020204" pitchFamily="34" charset="0"/>
                        </a:rPr>
                        <a:t>Text</a:t>
                      </a:r>
                      <a:endParaRPr lang="de-DE" b="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b="0" baseline="0" dirty="0">
                          <a:solidFill>
                            <a:srgbClr val="000000"/>
                          </a:solidFill>
                          <a:latin typeface="BMWGroupTN Condensed" pitchFamily="50" charset="0"/>
                          <a:sym typeface="BMW Group Condensed" panose="020B0606020202020204" pitchFamily="34" charset="0"/>
                        </a:rPr>
                        <a:t>Maecenas </a:t>
                      </a:r>
                      <a:r>
                        <a:rPr lang="de-DE" b="0" baseline="0" dirty="0" err="1">
                          <a:solidFill>
                            <a:srgbClr val="000000"/>
                          </a:solidFill>
                          <a:latin typeface="BMWGroupTN Condensed" pitchFamily="50" charset="0"/>
                          <a:sym typeface="BMW Group Condensed" panose="020B0606020202020204" pitchFamily="34" charset="0"/>
                        </a:rPr>
                        <a:t>porttitor</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congue</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massa</a:t>
                      </a:r>
                      <a:r>
                        <a:rPr lang="de-DE" b="0" baseline="0" dirty="0">
                          <a:solidFill>
                            <a:srgbClr val="000000"/>
                          </a:solidFill>
                          <a:latin typeface="BMWGroupTN Condensed" pitchFamily="50" charset="0"/>
                          <a:sym typeface="BMW Group Condensed" panose="020B0606020202020204" pitchFamily="34" charset="0"/>
                        </a:rPr>
                        <a:t>. </a:t>
                      </a:r>
                      <a:endParaRPr lang="de-DE" b="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70567">
                <a:tc>
                  <a:txBody>
                    <a:bodyPr/>
                    <a:lstStyle/>
                    <a:p>
                      <a:pPr algn="l">
                        <a:lnSpc>
                          <a:spcPct val="93000"/>
                        </a:lnSpc>
                      </a:pPr>
                      <a:r>
                        <a:rPr kumimoji="0" lang="de-DE" sz="1800" b="0" i="0" u="none" strike="noStrike" kern="1200" cap="none" spc="0" normalizeH="0" baseline="0" noProof="0" dirty="0">
                          <a:ln>
                            <a:noFill/>
                          </a:ln>
                          <a:solidFill>
                            <a:srgbClr val="000000"/>
                          </a:solidFill>
                          <a:effectLst/>
                          <a:uLnTx/>
                          <a:uFillTx/>
                          <a:latin typeface="BMWGroupTN Condensed" pitchFamily="50" charset="0"/>
                          <a:ea typeface="+mn-ea"/>
                          <a:cs typeface="+mn-cs"/>
                          <a:sym typeface="BMW Group Condensed" panose="020B0606020202020204" pitchFamily="34" charset="0"/>
                        </a:rPr>
                        <a:t>Text</a:t>
                      </a:r>
                      <a:endParaRPr lang="de-DE" b="0" dirty="0">
                        <a:solidFill>
                          <a:schemeClr val="accent3">
                            <a:lumMod val="75000"/>
                          </a:schemeClr>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de-DE" b="0" baseline="0" dirty="0" err="1">
                          <a:solidFill>
                            <a:srgbClr val="000000"/>
                          </a:solidFill>
                          <a:latin typeface="BMWGroupTN Condensed" pitchFamily="50" charset="0"/>
                          <a:sym typeface="BMW Group Condensed" panose="020B0606020202020204" pitchFamily="34" charset="0"/>
                        </a:rPr>
                        <a:t>Pellentesque</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habitant</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morbi</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tristique</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senectus</a:t>
                      </a:r>
                      <a:r>
                        <a:rPr lang="de-DE" b="0" baseline="0" dirty="0">
                          <a:solidFill>
                            <a:srgbClr val="000000"/>
                          </a:solidFill>
                          <a:latin typeface="BMWGroupTN Condensed" pitchFamily="50" charset="0"/>
                          <a:sym typeface="BMW Group Condensed" panose="020B0606020202020204" pitchFamily="34" charset="0"/>
                        </a:rPr>
                        <a:t> et </a:t>
                      </a:r>
                      <a:r>
                        <a:rPr lang="de-DE" b="0" baseline="0" dirty="0" err="1">
                          <a:solidFill>
                            <a:srgbClr val="000000"/>
                          </a:solidFill>
                          <a:latin typeface="BMWGroupTN Condensed" pitchFamily="50" charset="0"/>
                          <a:sym typeface="BMW Group Condensed" panose="020B0606020202020204" pitchFamily="34" charset="0"/>
                        </a:rPr>
                        <a:t>netus</a:t>
                      </a:r>
                      <a:r>
                        <a:rPr lang="de-DE" b="0" baseline="0" dirty="0">
                          <a:solidFill>
                            <a:srgbClr val="000000"/>
                          </a:solidFill>
                          <a:latin typeface="BMWGroupTN Condensed" pitchFamily="50" charset="0"/>
                          <a:sym typeface="BMW Group Condensed" panose="020B0606020202020204" pitchFamily="34" charset="0"/>
                        </a:rPr>
                        <a:t> et </a:t>
                      </a:r>
                      <a:r>
                        <a:rPr lang="de-DE" b="0" baseline="0" dirty="0" err="1">
                          <a:solidFill>
                            <a:srgbClr val="000000"/>
                          </a:solidFill>
                          <a:latin typeface="BMWGroupTN Condensed" pitchFamily="50" charset="0"/>
                          <a:sym typeface="BMW Group Condensed" panose="020B0606020202020204" pitchFamily="34" charset="0"/>
                        </a:rPr>
                        <a:t>malesuada</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fames</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ac</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turpis</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egestas</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Proin</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pharetra</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nonummy</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pede</a:t>
                      </a:r>
                      <a:r>
                        <a:rPr lang="de-DE" b="0" baseline="0" dirty="0">
                          <a:solidFill>
                            <a:srgbClr val="000000"/>
                          </a:solidFill>
                          <a:latin typeface="BMWGroupTN Condensed" pitchFamily="50" charset="0"/>
                          <a:sym typeface="BMW Group Condensed" panose="020B0606020202020204" pitchFamily="34" charset="0"/>
                        </a:rPr>
                        <a:t>. </a:t>
                      </a:r>
                      <a:r>
                        <a:rPr lang="de-DE" b="0" baseline="0" dirty="0" err="1">
                          <a:solidFill>
                            <a:srgbClr val="000000"/>
                          </a:solidFill>
                          <a:latin typeface="BMWGroupTN Condensed" pitchFamily="50" charset="0"/>
                          <a:sym typeface="BMW Group Condensed" panose="020B0606020202020204" pitchFamily="34" charset="0"/>
                        </a:rPr>
                        <a:t>Mauris</a:t>
                      </a:r>
                      <a:r>
                        <a:rPr lang="de-DE" b="0" baseline="0" dirty="0">
                          <a:solidFill>
                            <a:srgbClr val="000000"/>
                          </a:solidFill>
                          <a:latin typeface="BMWGroupTN Condensed" pitchFamily="50" charset="0"/>
                          <a:sym typeface="BMW Group Condensed" panose="020B0606020202020204" pitchFamily="34" charset="0"/>
                        </a:rPr>
                        <a:t> et </a:t>
                      </a:r>
                      <a:r>
                        <a:rPr lang="de-DE" b="0" baseline="0" dirty="0" err="1">
                          <a:solidFill>
                            <a:srgbClr val="000000"/>
                          </a:solidFill>
                          <a:latin typeface="BMWGroupTN Condensed" pitchFamily="50" charset="0"/>
                          <a:sym typeface="BMW Group Condensed" panose="020B0606020202020204" pitchFamily="34" charset="0"/>
                        </a:rPr>
                        <a:t>orci</a:t>
                      </a:r>
                      <a:r>
                        <a:rPr lang="de-DE" b="0" baseline="0" dirty="0">
                          <a:solidFill>
                            <a:srgbClr val="000000"/>
                          </a:solidFill>
                          <a:latin typeface="BMWGroupTN Condensed" pitchFamily="50" charset="0"/>
                          <a:sym typeface="BMW Group Condensed" panose="020B0606020202020204" pitchFamily="34" charset="0"/>
                        </a:rPr>
                        <a:t>.</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grpSp>
        <p:nvGrpSpPr>
          <p:cNvPr id="10" name="Gruppieren 9"/>
          <p:cNvGrpSpPr/>
          <p:nvPr/>
        </p:nvGrpSpPr>
        <p:grpSpPr>
          <a:xfrm>
            <a:off x="2321031" y="1553154"/>
            <a:ext cx="4321309" cy="4446432"/>
            <a:chOff x="2321031" y="1497168"/>
            <a:chExt cx="1966489" cy="3352983"/>
          </a:xfrm>
        </p:grpSpPr>
        <p:sp>
          <p:nvSpPr>
            <p:cNvPr id="4" name="Rechteck 3"/>
            <p:cNvSpPr/>
            <p:nvPr/>
          </p:nvSpPr>
          <p:spPr>
            <a:xfrm>
              <a:off x="2321031" y="1497168"/>
              <a:ext cx="1966489" cy="97947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de-DE" sz="1800" b="0" i="0" u="none" baseline="0" dirty="0" err="1">
                  <a:solidFill>
                    <a:schemeClr val="tx1"/>
                  </a:solidFill>
                  <a:latin typeface="BMWGroupTN Condensed" pitchFamily="50" charset="0"/>
                </a:rPr>
                <a:t>Placeholder</a:t>
              </a:r>
              <a:endParaRPr lang="de-DE" sz="1800" b="0" i="0" u="none" baseline="0" dirty="0">
                <a:solidFill>
                  <a:schemeClr val="tx1"/>
                </a:solidFill>
                <a:latin typeface="BMWGroupTN Condensed" pitchFamily="50" charset="0"/>
              </a:endParaRPr>
            </a:p>
          </p:txBody>
        </p:sp>
        <p:sp>
          <p:nvSpPr>
            <p:cNvPr id="5" name="Rechteck 4"/>
            <p:cNvSpPr/>
            <p:nvPr/>
          </p:nvSpPr>
          <p:spPr>
            <a:xfrm>
              <a:off x="2321031" y="2683922"/>
              <a:ext cx="1966489" cy="97947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err="1">
                  <a:solidFill>
                    <a:schemeClr val="tx1"/>
                  </a:solidFill>
                  <a:latin typeface="BMWGroupTN Condensed" pitchFamily="50" charset="0"/>
                </a:rPr>
                <a:t>Placeholder</a:t>
              </a:r>
              <a:endParaRPr lang="de-DE" sz="1800" b="0" i="0" u="none" baseline="0" dirty="0">
                <a:solidFill>
                  <a:schemeClr val="tx1"/>
                </a:solidFill>
                <a:latin typeface="BMWGroupTN Condensed" pitchFamily="50" charset="0"/>
              </a:endParaRPr>
            </a:p>
          </p:txBody>
        </p:sp>
        <p:sp>
          <p:nvSpPr>
            <p:cNvPr id="6" name="Rechteck 5"/>
            <p:cNvSpPr/>
            <p:nvPr/>
          </p:nvSpPr>
          <p:spPr>
            <a:xfrm>
              <a:off x="2321031" y="3870676"/>
              <a:ext cx="1966489" cy="97947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err="1">
                  <a:solidFill>
                    <a:schemeClr val="tx1"/>
                  </a:solidFill>
                  <a:latin typeface="BMWGroupTN Condensed" pitchFamily="50" charset="0"/>
                </a:rPr>
                <a:t>Placeholder</a:t>
              </a:r>
              <a:endParaRPr lang="de-DE" sz="1800" b="0" i="0" u="none" baseline="0" dirty="0">
                <a:solidFill>
                  <a:schemeClr val="tx1"/>
                </a:solidFill>
                <a:latin typeface="BMWGroupTN Condensed" pitchFamily="50" charset="0"/>
              </a:endParaRPr>
            </a:p>
          </p:txBody>
        </p:sp>
      </p:grpSp>
    </p:spTree>
    <p:custDataLst>
      <p:tags r:id="rId1"/>
    </p:custDataLst>
    <p:extLst>
      <p:ext uri="{BB962C8B-B14F-4D97-AF65-F5344CB8AC3E}">
        <p14:creationId xmlns:p14="http://schemas.microsoft.com/office/powerpoint/2010/main" val="2376035772"/>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488950" y="347663"/>
            <a:ext cx="11225213" cy="400110"/>
          </a:xfrm>
        </p:spPr>
        <p:txBody>
          <a:bodyPr vert="horz"/>
          <a:lstStyle/>
          <a:p>
            <a:r>
              <a:rPr lang="en-GB"/>
              <a:t>Bubbles.</a:t>
            </a:r>
            <a:endParaRPr lang="en-GB" dirty="0"/>
          </a:p>
        </p:txBody>
      </p:sp>
      <p:sp>
        <p:nvSpPr>
          <p:cNvPr id="3" name="Ellipse 2"/>
          <p:cNvSpPr/>
          <p:nvPr/>
        </p:nvSpPr>
        <p:spPr>
          <a:xfrm>
            <a:off x="4838385" y="1409700"/>
            <a:ext cx="2998398" cy="2998398"/>
          </a:xfrm>
          <a:prstGeom prst="ellipse">
            <a:avLst/>
          </a:prstGeom>
          <a:solidFill>
            <a:schemeClr val="tx2"/>
          </a:solidFill>
          <a:ln w="187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err="1">
              <a:solidFill>
                <a:srgbClr val="666666"/>
              </a:solidFill>
              <a:latin typeface="BMWGroupTN Condensed" pitchFamily="50" charset="0"/>
            </a:endParaRPr>
          </a:p>
        </p:txBody>
      </p:sp>
      <p:sp>
        <p:nvSpPr>
          <p:cNvPr id="8" name="Ellipse 7"/>
          <p:cNvSpPr/>
          <p:nvPr/>
        </p:nvSpPr>
        <p:spPr>
          <a:xfrm>
            <a:off x="3591322" y="2855460"/>
            <a:ext cx="1889185" cy="1889185"/>
          </a:xfrm>
          <a:prstGeom prst="ellipse">
            <a:avLst/>
          </a:prstGeom>
          <a:solidFill>
            <a:schemeClr val="accent3"/>
          </a:solidFill>
          <a:ln w="187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err="1">
              <a:solidFill>
                <a:srgbClr val="666666"/>
              </a:solidFill>
              <a:latin typeface="BMWGroupTN Condensed" pitchFamily="50" charset="0"/>
            </a:endParaRPr>
          </a:p>
        </p:txBody>
      </p:sp>
      <p:sp>
        <p:nvSpPr>
          <p:cNvPr id="5" name="Ellipse 4"/>
          <p:cNvSpPr/>
          <p:nvPr/>
        </p:nvSpPr>
        <p:spPr>
          <a:xfrm>
            <a:off x="4653005" y="3663308"/>
            <a:ext cx="2443945" cy="2443945"/>
          </a:xfrm>
          <a:prstGeom prst="ellipse">
            <a:avLst/>
          </a:prstGeom>
          <a:solidFill>
            <a:schemeClr val="accent2"/>
          </a:solidFill>
          <a:ln w="187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err="1">
              <a:solidFill>
                <a:srgbClr val="666666"/>
              </a:solidFill>
              <a:latin typeface="BMWGroupTN Condensed" pitchFamily="50" charset="0"/>
            </a:endParaRPr>
          </a:p>
        </p:txBody>
      </p:sp>
      <p:sp>
        <p:nvSpPr>
          <p:cNvPr id="4" name="Ellipse 3"/>
          <p:cNvSpPr/>
          <p:nvPr/>
        </p:nvSpPr>
        <p:spPr>
          <a:xfrm>
            <a:off x="6371728" y="2975806"/>
            <a:ext cx="2712118" cy="2712118"/>
          </a:xfrm>
          <a:prstGeom prst="ellipse">
            <a:avLst/>
          </a:prstGeom>
          <a:solidFill>
            <a:schemeClr val="accent1"/>
          </a:solidFill>
          <a:ln w="187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err="1">
              <a:solidFill>
                <a:srgbClr val="666666"/>
              </a:solidFill>
              <a:latin typeface="BMWGroupTN Condensed" pitchFamily="50" charset="0"/>
            </a:endParaRPr>
          </a:p>
        </p:txBody>
      </p:sp>
      <p:sp>
        <p:nvSpPr>
          <p:cNvPr id="9" name="Textfeld 8"/>
          <p:cNvSpPr txBox="1"/>
          <p:nvPr/>
        </p:nvSpPr>
        <p:spPr>
          <a:xfrm>
            <a:off x="5669375" y="2050202"/>
            <a:ext cx="1147750" cy="858697"/>
          </a:xfrm>
          <a:prstGeom prst="rect">
            <a:avLst/>
          </a:prstGeom>
        </p:spPr>
        <p:txBody>
          <a:bodyPr vert="horz" wrap="none" lIns="0" tIns="0" rIns="0" bIns="0" rtlCol="0">
            <a:spAutoFit/>
          </a:bodyPr>
          <a:lstStyle/>
          <a:p>
            <a:pPr marL="0" indent="0">
              <a:lnSpc>
                <a:spcPct val="93000"/>
              </a:lnSpc>
              <a:buNone/>
            </a:pPr>
            <a:r>
              <a:rPr lang="en-GB" sz="4000">
                <a:solidFill>
                  <a:schemeClr val="bg1"/>
                </a:solidFill>
              </a:rPr>
              <a:t>40%</a:t>
            </a:r>
            <a:endParaRPr lang="en-GB" sz="2000">
              <a:solidFill>
                <a:schemeClr val="bg1"/>
              </a:solidFill>
            </a:endParaRPr>
          </a:p>
          <a:p>
            <a:pPr marL="0" indent="0">
              <a:lnSpc>
                <a:spcPct val="93000"/>
              </a:lnSpc>
              <a:buNone/>
            </a:pPr>
            <a:r>
              <a:rPr lang="en-GB" sz="2000">
                <a:solidFill>
                  <a:schemeClr val="bg1"/>
                </a:solidFill>
              </a:rPr>
              <a:t>Placeholder</a:t>
            </a:r>
            <a:endParaRPr lang="en-GB" sz="2000" dirty="0">
              <a:solidFill>
                <a:schemeClr val="bg1"/>
              </a:solidFill>
            </a:endParaRPr>
          </a:p>
        </p:txBody>
      </p:sp>
      <p:sp>
        <p:nvSpPr>
          <p:cNvPr id="10" name="Textfeld 9"/>
          <p:cNvSpPr txBox="1"/>
          <p:nvPr/>
        </p:nvSpPr>
        <p:spPr>
          <a:xfrm>
            <a:off x="7193027" y="3902516"/>
            <a:ext cx="1147750" cy="858697"/>
          </a:xfrm>
          <a:prstGeom prst="rect">
            <a:avLst/>
          </a:prstGeom>
        </p:spPr>
        <p:txBody>
          <a:bodyPr vert="horz" wrap="none" lIns="0" tIns="0" rIns="0" bIns="0" rtlCol="0">
            <a:spAutoFit/>
          </a:bodyPr>
          <a:lstStyle/>
          <a:p>
            <a:pPr marL="0" indent="0">
              <a:lnSpc>
                <a:spcPct val="93000"/>
              </a:lnSpc>
              <a:buNone/>
            </a:pPr>
            <a:r>
              <a:rPr lang="en-GB" sz="4000" dirty="0">
                <a:solidFill>
                  <a:schemeClr val="bg1"/>
                </a:solidFill>
              </a:rPr>
              <a:t>35%</a:t>
            </a:r>
            <a:endParaRPr lang="en-GB" sz="2000" dirty="0">
              <a:solidFill>
                <a:schemeClr val="bg1"/>
              </a:solidFill>
            </a:endParaRPr>
          </a:p>
          <a:p>
            <a:pPr marL="0" indent="0">
              <a:lnSpc>
                <a:spcPct val="93000"/>
              </a:lnSpc>
              <a:buNone/>
            </a:pPr>
            <a:r>
              <a:rPr lang="en-GB" sz="2000" dirty="0">
                <a:solidFill>
                  <a:schemeClr val="bg1"/>
                </a:solidFill>
              </a:rPr>
              <a:t>Placeholder</a:t>
            </a:r>
          </a:p>
        </p:txBody>
      </p:sp>
      <p:sp>
        <p:nvSpPr>
          <p:cNvPr id="11" name="Textfeld 10"/>
          <p:cNvSpPr txBox="1"/>
          <p:nvPr/>
        </p:nvSpPr>
        <p:spPr>
          <a:xfrm>
            <a:off x="5248915" y="4555118"/>
            <a:ext cx="918521" cy="686919"/>
          </a:xfrm>
          <a:prstGeom prst="rect">
            <a:avLst/>
          </a:prstGeom>
        </p:spPr>
        <p:txBody>
          <a:bodyPr vert="horz" wrap="none" lIns="0" tIns="0" rIns="0" bIns="0" rtlCol="0">
            <a:spAutoFit/>
          </a:bodyPr>
          <a:lstStyle/>
          <a:p>
            <a:pPr marL="0" indent="0">
              <a:lnSpc>
                <a:spcPct val="93000"/>
              </a:lnSpc>
              <a:buNone/>
            </a:pPr>
            <a:r>
              <a:rPr lang="en-GB" sz="3200"/>
              <a:t>15%</a:t>
            </a:r>
            <a:endParaRPr lang="en-GB" sz="1600"/>
          </a:p>
          <a:p>
            <a:pPr marL="0" indent="0">
              <a:lnSpc>
                <a:spcPct val="93000"/>
              </a:lnSpc>
              <a:buNone/>
            </a:pPr>
            <a:r>
              <a:rPr lang="en-GB" sz="1600"/>
              <a:t>Placeholder</a:t>
            </a:r>
            <a:endParaRPr lang="en-GB" sz="1600" dirty="0"/>
          </a:p>
        </p:txBody>
      </p:sp>
      <p:sp>
        <p:nvSpPr>
          <p:cNvPr id="12" name="Textfeld 11"/>
          <p:cNvSpPr txBox="1"/>
          <p:nvPr/>
        </p:nvSpPr>
        <p:spPr>
          <a:xfrm>
            <a:off x="4058006" y="3405705"/>
            <a:ext cx="687689" cy="515206"/>
          </a:xfrm>
          <a:prstGeom prst="rect">
            <a:avLst/>
          </a:prstGeom>
        </p:spPr>
        <p:txBody>
          <a:bodyPr vert="horz" wrap="none" lIns="0" tIns="0" rIns="0" bIns="0" rtlCol="0">
            <a:spAutoFit/>
          </a:bodyPr>
          <a:lstStyle/>
          <a:p>
            <a:pPr marL="0" indent="0">
              <a:lnSpc>
                <a:spcPct val="93000"/>
              </a:lnSpc>
              <a:buNone/>
            </a:pPr>
            <a:r>
              <a:rPr lang="en-GB" sz="2400"/>
              <a:t>10%</a:t>
            </a:r>
            <a:endParaRPr lang="en-GB" sz="1200"/>
          </a:p>
          <a:p>
            <a:pPr marL="0" indent="0">
              <a:lnSpc>
                <a:spcPct val="93000"/>
              </a:lnSpc>
              <a:buNone/>
            </a:pPr>
            <a:r>
              <a:rPr lang="en-GB" sz="1200"/>
              <a:t>Placeholder</a:t>
            </a:r>
            <a:endParaRPr lang="en-GB" sz="1100" dirty="0"/>
          </a:p>
        </p:txBody>
      </p:sp>
      <p:sp>
        <p:nvSpPr>
          <p:cNvPr id="13" name="Textfeld 12"/>
          <p:cNvSpPr txBox="1"/>
          <p:nvPr/>
        </p:nvSpPr>
        <p:spPr>
          <a:xfrm>
            <a:off x="540761" y="2692569"/>
            <a:ext cx="2940835" cy="1021498"/>
          </a:xfrm>
          <a:prstGeom prst="rect">
            <a:avLst/>
          </a:prstGeom>
        </p:spPr>
        <p:txBody>
          <a:bodyPr vert="horz" wrap="square" lIns="0" tIns="0" rIns="0" bIns="0" rtlCol="0">
            <a:spAutoFit/>
          </a:bodyPr>
          <a:lstStyle/>
          <a:p>
            <a:pPr marL="0" indent="0" algn="r">
              <a:lnSpc>
                <a:spcPct val="93000"/>
              </a:lnSpc>
              <a:spcAft>
                <a:spcPts val="600"/>
              </a:spcAft>
              <a:buNone/>
            </a:pPr>
            <a:r>
              <a:rPr lang="en-GB" dirty="0"/>
              <a:t>Subtitle</a:t>
            </a:r>
          </a:p>
          <a:p>
            <a:pPr marL="0" indent="0" algn="r">
              <a:lnSpc>
                <a:spcPct val="93000"/>
              </a:lnSpc>
              <a:buNone/>
            </a:pPr>
            <a:r>
              <a:rPr lang="en-GB" sz="1600" dirty="0"/>
              <a:t>Lorem ipsum </a:t>
            </a:r>
            <a:r>
              <a:rPr lang="en-GB" sz="1600" dirty="0" err="1"/>
              <a:t>dolor</a:t>
            </a:r>
            <a:r>
              <a:rPr lang="en-GB" sz="1600" dirty="0"/>
              <a:t> sit </a:t>
            </a:r>
            <a:r>
              <a:rPr lang="en-GB" sz="1600" dirty="0" err="1"/>
              <a:t>amet</a:t>
            </a:r>
            <a:r>
              <a:rPr lang="en-GB" sz="1600" dirty="0"/>
              <a:t>, </a:t>
            </a:r>
            <a:r>
              <a:rPr lang="en-GB" sz="1600" dirty="0" err="1"/>
              <a:t>consectetuer</a:t>
            </a:r>
            <a:r>
              <a:rPr lang="en-GB" sz="1600" dirty="0"/>
              <a:t> </a:t>
            </a:r>
            <a:r>
              <a:rPr lang="en-GB" sz="1600" dirty="0" err="1"/>
              <a:t>adipiscing</a:t>
            </a:r>
            <a:r>
              <a:rPr lang="en-GB" sz="1600" dirty="0"/>
              <a:t> </a:t>
            </a:r>
            <a:r>
              <a:rPr lang="en-GB" sz="1600" dirty="0" err="1"/>
              <a:t>elit</a:t>
            </a:r>
            <a:r>
              <a:rPr lang="en-GB" sz="1600" dirty="0"/>
              <a:t>. Maecenas. </a:t>
            </a:r>
          </a:p>
        </p:txBody>
      </p:sp>
      <p:sp>
        <p:nvSpPr>
          <p:cNvPr id="14" name="Textfeld 13"/>
          <p:cNvSpPr txBox="1"/>
          <p:nvPr/>
        </p:nvSpPr>
        <p:spPr>
          <a:xfrm>
            <a:off x="760811" y="5017092"/>
            <a:ext cx="3796118" cy="792525"/>
          </a:xfrm>
          <a:prstGeom prst="rect">
            <a:avLst/>
          </a:prstGeom>
        </p:spPr>
        <p:txBody>
          <a:bodyPr vert="horz" wrap="square" lIns="0" tIns="0" rIns="0" bIns="0" rtlCol="0">
            <a:spAutoFit/>
          </a:bodyPr>
          <a:lstStyle/>
          <a:p>
            <a:pPr marL="0" indent="0" algn="r">
              <a:lnSpc>
                <a:spcPct val="93000"/>
              </a:lnSpc>
              <a:spcAft>
                <a:spcPts val="600"/>
              </a:spcAft>
              <a:buNone/>
            </a:pPr>
            <a:r>
              <a:rPr lang="en-GB" dirty="0"/>
              <a:t>Subtitle</a:t>
            </a:r>
          </a:p>
          <a:p>
            <a:pPr marL="0" indent="0" algn="r">
              <a:lnSpc>
                <a:spcPct val="93000"/>
              </a:lnSpc>
              <a:buNone/>
            </a:pPr>
            <a:r>
              <a:rPr lang="en-GB" sz="1600" dirty="0" err="1"/>
              <a:t>Fusce</a:t>
            </a:r>
            <a:r>
              <a:rPr lang="en-GB" sz="1600" dirty="0"/>
              <a:t> </a:t>
            </a:r>
            <a:r>
              <a:rPr lang="en-GB" sz="1600" dirty="0" err="1"/>
              <a:t>posuere</a:t>
            </a:r>
            <a:r>
              <a:rPr lang="en-GB" sz="1600" dirty="0"/>
              <a:t>, magna </a:t>
            </a:r>
            <a:r>
              <a:rPr lang="en-GB" sz="1600" dirty="0" err="1"/>
              <a:t>sed</a:t>
            </a:r>
            <a:r>
              <a:rPr lang="en-GB" sz="1600" dirty="0"/>
              <a:t> pulvinar </a:t>
            </a:r>
            <a:r>
              <a:rPr lang="en-GB" sz="1600" dirty="0" err="1"/>
              <a:t>ultricies</a:t>
            </a:r>
            <a:r>
              <a:rPr lang="en-GB" sz="1600" dirty="0"/>
              <a:t>, </a:t>
            </a:r>
            <a:r>
              <a:rPr lang="en-GB" sz="1600" dirty="0" err="1"/>
              <a:t>purus</a:t>
            </a:r>
            <a:r>
              <a:rPr lang="en-GB" sz="1600" dirty="0"/>
              <a:t> </a:t>
            </a:r>
            <a:r>
              <a:rPr lang="en-GB" sz="1600" dirty="0" err="1"/>
              <a:t>lectus</a:t>
            </a:r>
            <a:r>
              <a:rPr lang="en-GB" sz="1600" dirty="0"/>
              <a:t> </a:t>
            </a:r>
            <a:r>
              <a:rPr lang="en-GB" sz="1600" dirty="0" err="1"/>
              <a:t>malesuada</a:t>
            </a:r>
            <a:r>
              <a:rPr lang="en-GB" sz="1600" dirty="0"/>
              <a:t> libero.</a:t>
            </a:r>
          </a:p>
        </p:txBody>
      </p:sp>
      <p:sp>
        <p:nvSpPr>
          <p:cNvPr id="15" name="Textfeld 14"/>
          <p:cNvSpPr txBox="1"/>
          <p:nvPr/>
        </p:nvSpPr>
        <p:spPr>
          <a:xfrm>
            <a:off x="9245384" y="4580441"/>
            <a:ext cx="2339303" cy="1021498"/>
          </a:xfrm>
          <a:prstGeom prst="rect">
            <a:avLst/>
          </a:prstGeom>
        </p:spPr>
        <p:txBody>
          <a:bodyPr vert="horz" wrap="square" lIns="0" tIns="0" rIns="0" bIns="0" rtlCol="0">
            <a:spAutoFit/>
          </a:bodyPr>
          <a:lstStyle/>
          <a:p>
            <a:pPr marL="0" indent="0">
              <a:lnSpc>
                <a:spcPct val="93000"/>
              </a:lnSpc>
              <a:spcAft>
                <a:spcPts val="600"/>
              </a:spcAft>
              <a:buNone/>
            </a:pPr>
            <a:r>
              <a:rPr lang="en-GB" dirty="0"/>
              <a:t>Subtitle</a:t>
            </a:r>
          </a:p>
          <a:p>
            <a:pPr>
              <a:lnSpc>
                <a:spcPct val="93000"/>
              </a:lnSpc>
            </a:pPr>
            <a:r>
              <a:rPr lang="en-GB" sz="1600" dirty="0"/>
              <a:t>Nunc </a:t>
            </a:r>
            <a:r>
              <a:rPr lang="en-GB" sz="1600" dirty="0" err="1"/>
              <a:t>viverra</a:t>
            </a:r>
            <a:r>
              <a:rPr lang="en-GB" sz="1600" dirty="0"/>
              <a:t> </a:t>
            </a:r>
            <a:r>
              <a:rPr lang="en-GB" sz="1600" dirty="0" err="1"/>
              <a:t>imperdiet</a:t>
            </a:r>
            <a:r>
              <a:rPr lang="en-GB" sz="1600" dirty="0"/>
              <a:t> </a:t>
            </a:r>
            <a:r>
              <a:rPr lang="en-GB" sz="1600" dirty="0" err="1"/>
              <a:t>enim</a:t>
            </a:r>
            <a:r>
              <a:rPr lang="en-GB" sz="1600" dirty="0"/>
              <a:t>. </a:t>
            </a:r>
            <a:r>
              <a:rPr lang="en-GB" sz="1600" dirty="0" err="1"/>
              <a:t>Fusce</a:t>
            </a:r>
            <a:r>
              <a:rPr lang="en-GB" sz="1600" dirty="0"/>
              <a:t> </a:t>
            </a:r>
            <a:r>
              <a:rPr lang="en-GB" sz="1600" dirty="0" err="1"/>
              <a:t>est</a:t>
            </a:r>
            <a:r>
              <a:rPr lang="en-GB" sz="1600" dirty="0"/>
              <a:t> magna </a:t>
            </a:r>
            <a:r>
              <a:rPr lang="en-GB" sz="1600" dirty="0" err="1"/>
              <a:t>sed</a:t>
            </a:r>
            <a:r>
              <a:rPr lang="en-GB" sz="1600" dirty="0"/>
              <a:t> pulvinar.</a:t>
            </a:r>
          </a:p>
        </p:txBody>
      </p:sp>
      <p:sp>
        <p:nvSpPr>
          <p:cNvPr id="16" name="Textfeld 15"/>
          <p:cNvSpPr txBox="1"/>
          <p:nvPr/>
        </p:nvSpPr>
        <p:spPr>
          <a:xfrm>
            <a:off x="8229601" y="1421447"/>
            <a:ext cx="3355086" cy="1250471"/>
          </a:xfrm>
          <a:prstGeom prst="rect">
            <a:avLst/>
          </a:prstGeom>
        </p:spPr>
        <p:txBody>
          <a:bodyPr vert="horz" wrap="square" lIns="0" tIns="0" rIns="0" bIns="0" rtlCol="0">
            <a:spAutoFit/>
          </a:bodyPr>
          <a:lstStyle/>
          <a:p>
            <a:pPr marL="0" indent="0">
              <a:lnSpc>
                <a:spcPct val="93000"/>
              </a:lnSpc>
              <a:spcAft>
                <a:spcPts val="600"/>
              </a:spcAft>
              <a:buNone/>
            </a:pPr>
            <a:r>
              <a:rPr lang="en-GB" dirty="0"/>
              <a:t>Subtitle</a:t>
            </a:r>
          </a:p>
          <a:p>
            <a:pPr marL="0" indent="0">
              <a:lnSpc>
                <a:spcPct val="93000"/>
              </a:lnSpc>
              <a:buNone/>
            </a:pPr>
            <a:r>
              <a:rPr lang="en-GB" sz="1600" dirty="0" err="1"/>
              <a:t>Vivamus</a:t>
            </a:r>
            <a:r>
              <a:rPr lang="en-GB" sz="1600" dirty="0"/>
              <a:t> a </a:t>
            </a:r>
            <a:r>
              <a:rPr lang="en-GB" sz="1600" dirty="0" err="1"/>
              <a:t>tellus</a:t>
            </a:r>
            <a:r>
              <a:rPr lang="en-GB" sz="1600" dirty="0"/>
              <a:t>.</a:t>
            </a:r>
          </a:p>
          <a:p>
            <a:pPr marL="0" indent="0">
              <a:lnSpc>
                <a:spcPct val="93000"/>
              </a:lnSpc>
              <a:buNone/>
            </a:pPr>
            <a:r>
              <a:rPr lang="en-GB" sz="1600" dirty="0" err="1"/>
              <a:t>Pellentesque</a:t>
            </a:r>
            <a:r>
              <a:rPr lang="en-GB" sz="1600" dirty="0"/>
              <a:t> habitant </a:t>
            </a:r>
            <a:r>
              <a:rPr lang="en-GB" sz="1600" dirty="0" err="1"/>
              <a:t>morbi</a:t>
            </a:r>
            <a:r>
              <a:rPr lang="en-GB" sz="1600" dirty="0"/>
              <a:t> </a:t>
            </a:r>
            <a:r>
              <a:rPr lang="en-GB" sz="1600" dirty="0" err="1"/>
              <a:t>tristique</a:t>
            </a:r>
            <a:r>
              <a:rPr lang="en-GB" sz="1600" dirty="0"/>
              <a:t> </a:t>
            </a:r>
            <a:r>
              <a:rPr lang="en-GB" sz="1600" dirty="0" err="1"/>
              <a:t>senectus</a:t>
            </a:r>
            <a:r>
              <a:rPr lang="en-GB" sz="1600" dirty="0"/>
              <a:t> et </a:t>
            </a:r>
            <a:r>
              <a:rPr lang="en-GB" sz="1600" dirty="0" err="1"/>
              <a:t>netus</a:t>
            </a:r>
            <a:r>
              <a:rPr lang="en-GB" sz="1600" dirty="0"/>
              <a:t> et </a:t>
            </a:r>
            <a:r>
              <a:rPr lang="en-GB" sz="1600" dirty="0" err="1"/>
              <a:t>malesuada</a:t>
            </a:r>
            <a:r>
              <a:rPr lang="en-GB" sz="1600" dirty="0"/>
              <a:t> fames ac </a:t>
            </a:r>
            <a:r>
              <a:rPr lang="en-GB" sz="1600" dirty="0" err="1"/>
              <a:t>turpis</a:t>
            </a:r>
            <a:r>
              <a:rPr lang="en-GB" sz="1600" dirty="0"/>
              <a:t> </a:t>
            </a:r>
            <a:r>
              <a:rPr lang="en-GB" sz="1600" dirty="0" err="1"/>
              <a:t>egestas</a:t>
            </a:r>
            <a:r>
              <a:rPr lang="en-GB" sz="1600" dirty="0"/>
              <a:t>. </a:t>
            </a:r>
          </a:p>
        </p:txBody>
      </p:sp>
    </p:spTree>
    <p:custDataLst>
      <p:tags r:id="rId1"/>
    </p:custDataLst>
    <p:extLst>
      <p:ext uri="{BB962C8B-B14F-4D97-AF65-F5344CB8AC3E}">
        <p14:creationId xmlns:p14="http://schemas.microsoft.com/office/powerpoint/2010/main" val="3385431209"/>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87A7F43-358D-493B-84FB-C5D8B52C6C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12" name="Objekt 11" hidden="1">
                        <a:extLst>
                          <a:ext uri="{FF2B5EF4-FFF2-40B4-BE49-F238E27FC236}">
                            <a16:creationId xmlns:a16="http://schemas.microsoft.com/office/drawing/2014/main" id="{E87A7F43-358D-493B-84FB-C5D8B52C6C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D1B91C30-8374-40AC-9ACD-02E2BFDFEE79}"/>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de-DE" sz="2600" b="1" dirty="0">
              <a:solidFill>
                <a:schemeClr val="tx1"/>
              </a:solidFill>
              <a:latin typeface="BMWGroupTN Condensed" pitchFamily="50" charset="0"/>
              <a:ea typeface="+mj-ea"/>
              <a:cs typeface="+mj-cs"/>
              <a:sym typeface="BMW Group Condensed" panose="020B0606020202020204" pitchFamily="34" charset="0"/>
            </a:endParaRPr>
          </a:p>
        </p:txBody>
      </p:sp>
      <p:sp>
        <p:nvSpPr>
          <p:cNvPr id="2" name="Titel 1"/>
          <p:cNvSpPr>
            <a:spLocks noGrp="1"/>
          </p:cNvSpPr>
          <p:nvPr>
            <p:ph type="title"/>
          </p:nvPr>
        </p:nvSpPr>
        <p:spPr/>
        <p:txBody>
          <a:bodyPr vert="horz"/>
          <a:lstStyle/>
          <a:p>
            <a:r>
              <a:rPr lang="de-DE" dirty="0"/>
              <a:t>Table </a:t>
            </a:r>
            <a:r>
              <a:rPr lang="de-DE" dirty="0" err="1"/>
              <a:t>with</a:t>
            </a:r>
            <a:r>
              <a:rPr lang="de-DE" dirty="0"/>
              <a:t> </a:t>
            </a:r>
            <a:r>
              <a:rPr lang="de-DE" dirty="0" err="1"/>
              <a:t>Placeholders</a:t>
            </a:r>
            <a:r>
              <a:rPr lang="de-DE" dirty="0"/>
              <a:t> </a:t>
            </a:r>
            <a:r>
              <a:rPr lang="de-DE" dirty="0" err="1"/>
              <a:t>for</a:t>
            </a:r>
            <a:r>
              <a:rPr lang="de-DE" dirty="0"/>
              <a:t> Pictures/</a:t>
            </a:r>
            <a:r>
              <a:rPr lang="de-DE" dirty="0" err="1"/>
              <a:t>Grafics</a:t>
            </a:r>
            <a:r>
              <a:rPr lang="de-DE" dirty="0"/>
              <a:t>.</a:t>
            </a:r>
            <a:br>
              <a:rPr lang="de-DE" dirty="0"/>
            </a:br>
            <a:r>
              <a:rPr lang="de-DE" dirty="0"/>
              <a:t>5x3.</a:t>
            </a:r>
          </a:p>
        </p:txBody>
      </p:sp>
      <p:graphicFrame>
        <p:nvGraphicFramePr>
          <p:cNvPr id="3" name="Tabelle 2"/>
          <p:cNvGraphicFramePr>
            <a:graphicFrameLocks noGrp="1"/>
          </p:cNvGraphicFramePr>
          <p:nvPr>
            <p:extLst>
              <p:ext uri="{D42A27DB-BD31-4B8C-83A1-F6EECF244321}">
                <p14:modId xmlns:p14="http://schemas.microsoft.com/office/powerpoint/2010/main" val="550494683"/>
              </p:ext>
            </p:extLst>
          </p:nvPr>
        </p:nvGraphicFramePr>
        <p:xfrm>
          <a:off x="482600" y="1416050"/>
          <a:ext cx="11239500" cy="4716220"/>
        </p:xfrm>
        <a:graphic>
          <a:graphicData uri="http://schemas.openxmlformats.org/drawingml/2006/table">
            <a:tbl>
              <a:tblPr firstRow="1" bandRow="1">
                <a:tableStyleId>{5C22544A-7EE6-4342-B048-85BDC9FD1C3A}</a:tableStyleId>
              </a:tblPr>
              <a:tblGrid>
                <a:gridCol w="2528014">
                  <a:extLst>
                    <a:ext uri="{9D8B030D-6E8A-4147-A177-3AD203B41FA5}">
                      <a16:colId xmlns:a16="http://schemas.microsoft.com/office/drawing/2014/main" val="20001"/>
                    </a:ext>
                  </a:extLst>
                </a:gridCol>
                <a:gridCol w="4355743">
                  <a:extLst>
                    <a:ext uri="{9D8B030D-6E8A-4147-A177-3AD203B41FA5}">
                      <a16:colId xmlns:a16="http://schemas.microsoft.com/office/drawing/2014/main" val="20003"/>
                    </a:ext>
                  </a:extLst>
                </a:gridCol>
                <a:gridCol w="4355743">
                  <a:extLst>
                    <a:ext uri="{9D8B030D-6E8A-4147-A177-3AD203B41FA5}">
                      <a16:colId xmlns:a16="http://schemas.microsoft.com/office/drawing/2014/main" val="887617614"/>
                    </a:ext>
                  </a:extLst>
                </a:gridCol>
              </a:tblGrid>
              <a:tr h="322505">
                <a:tc>
                  <a:txBody>
                    <a:bodyPr/>
                    <a:lstStyle/>
                    <a:p>
                      <a:pPr>
                        <a:lnSpc>
                          <a:spcPct val="93000"/>
                        </a:lnSpc>
                      </a:pPr>
                      <a:endParaRPr lang="de-DE" b="0" dirty="0">
                        <a:solidFill>
                          <a:schemeClr val="bg1"/>
                        </a:solidFill>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b="0" baseline="0" dirty="0" err="1">
                          <a:solidFill>
                            <a:schemeClr val="bg1"/>
                          </a:solidFill>
                          <a:latin typeface="BMWGroupTN Condensed" pitchFamily="50" charset="0"/>
                          <a:sym typeface="BMW Group Condensed" panose="020B0606020202020204" pitchFamily="34" charset="0"/>
                        </a:rPr>
                        <a:t>Functional</a:t>
                      </a:r>
                      <a:r>
                        <a:rPr lang="de-DE" b="0" baseline="0" dirty="0">
                          <a:solidFill>
                            <a:schemeClr val="bg1"/>
                          </a:solidFill>
                          <a:latin typeface="BMWGroupTN Condensed" pitchFamily="50" charset="0"/>
                          <a:sym typeface="BMW Group Condensed" panose="020B0606020202020204" pitchFamily="34" charset="0"/>
                        </a:rPr>
                        <a:t> </a:t>
                      </a:r>
                      <a:r>
                        <a:rPr lang="de-DE" b="0" baseline="0" dirty="0" err="1">
                          <a:solidFill>
                            <a:schemeClr val="bg1"/>
                          </a:solidFill>
                          <a:latin typeface="BMWGroupTN Condensed" pitchFamily="50" charset="0"/>
                          <a:sym typeface="BMW Group Condensed" panose="020B0606020202020204" pitchFamily="34" charset="0"/>
                        </a:rPr>
                        <a:t>Requirement</a:t>
                      </a:r>
                      <a:endParaRPr lang="de-DE" b="0" baseline="0" dirty="0">
                        <a:solidFill>
                          <a:schemeClr val="bg1"/>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de-DE" b="0" baseline="0" dirty="0">
                          <a:solidFill>
                            <a:schemeClr val="bg1"/>
                          </a:solidFill>
                          <a:latin typeface="BMWGroupTN Condensed" pitchFamily="50" charset="0"/>
                          <a:sym typeface="BMW Group Condensed" panose="020B0606020202020204" pitchFamily="34" charset="0"/>
                        </a:rPr>
                        <a:t>Non-</a:t>
                      </a:r>
                      <a:r>
                        <a:rPr lang="de-DE" b="0" baseline="0" dirty="0" err="1">
                          <a:solidFill>
                            <a:schemeClr val="bg1"/>
                          </a:solidFill>
                          <a:latin typeface="BMWGroupTN Condensed" pitchFamily="50" charset="0"/>
                          <a:sym typeface="BMW Group Condensed" panose="020B0606020202020204" pitchFamily="34" charset="0"/>
                        </a:rPr>
                        <a:t>Functional</a:t>
                      </a:r>
                      <a:r>
                        <a:rPr lang="de-DE" b="0" baseline="0" dirty="0">
                          <a:solidFill>
                            <a:schemeClr val="bg1"/>
                          </a:solidFill>
                          <a:latin typeface="BMWGroupTN Condensed" pitchFamily="50" charset="0"/>
                          <a:sym typeface="BMW Group Condensed" panose="020B0606020202020204" pitchFamily="34" charset="0"/>
                        </a:rPr>
                        <a:t> </a:t>
                      </a:r>
                      <a:r>
                        <a:rPr lang="de-DE" b="0" baseline="0" dirty="0" err="1">
                          <a:solidFill>
                            <a:schemeClr val="bg1"/>
                          </a:solidFill>
                          <a:latin typeface="BMWGroupTN Condensed" pitchFamily="50" charset="0"/>
                          <a:sym typeface="BMW Group Condensed" panose="020B0606020202020204" pitchFamily="34" charset="0"/>
                        </a:rPr>
                        <a:t>Requirement</a:t>
                      </a:r>
                      <a:endParaRPr lang="de-DE" b="0" baseline="0" dirty="0">
                        <a:solidFill>
                          <a:schemeClr val="bg1"/>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05736597"/>
                  </a:ext>
                </a:extLst>
              </a:tr>
              <a:tr h="877839">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sz="1600" b="0" baseline="0" dirty="0" err="1">
                          <a:solidFill>
                            <a:srgbClr val="000000"/>
                          </a:solidFill>
                          <a:latin typeface="BMWGroupTN Condensed" pitchFamily="50" charset="0"/>
                          <a:sym typeface="BMW Group Condensed" panose="020B0606020202020204" pitchFamily="34" charset="0"/>
                        </a:rPr>
                        <a:t>Lorem</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ipsum</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dolor</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si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ame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consectetuer</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adipiscing</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elit</a:t>
                      </a:r>
                      <a:r>
                        <a:rPr lang="de-DE" sz="1600" b="0" baseline="0" dirty="0">
                          <a:solidFill>
                            <a:srgbClr val="000000"/>
                          </a:solidFill>
                          <a:latin typeface="BMWGroupTN Condensed" pitchFamily="50" charset="0"/>
                          <a:sym typeface="BMW Group Condensed" panose="020B0606020202020204" pitchFamily="34" charset="0"/>
                        </a:rPr>
                        <a:t>. </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sz="1600" b="0" baseline="0" dirty="0" err="1">
                          <a:solidFill>
                            <a:srgbClr val="000000"/>
                          </a:solidFill>
                          <a:latin typeface="BMWGroupTN Condensed" pitchFamily="50" charset="0"/>
                          <a:sym typeface="BMW Group Condensed" panose="020B0606020202020204" pitchFamily="34" charset="0"/>
                        </a:rPr>
                        <a:t>Fusc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osuere</a:t>
                      </a:r>
                      <a:r>
                        <a:rPr lang="de-DE" sz="1600" b="0" baseline="0" dirty="0">
                          <a:solidFill>
                            <a:srgbClr val="000000"/>
                          </a:solidFill>
                          <a:latin typeface="BMWGroupTN Condensed" pitchFamily="50" charset="0"/>
                          <a:sym typeface="BMW Group Condensed" panose="020B0606020202020204" pitchFamily="34" charset="0"/>
                        </a:rPr>
                        <a:t>, magna </a:t>
                      </a:r>
                      <a:r>
                        <a:rPr lang="de-DE" sz="1600" b="0" baseline="0" dirty="0" err="1">
                          <a:solidFill>
                            <a:srgbClr val="000000"/>
                          </a:solidFill>
                          <a:latin typeface="BMWGroupTN Condensed" pitchFamily="50" charset="0"/>
                          <a:sym typeface="BMW Group Condensed" panose="020B0606020202020204" pitchFamily="34" charset="0"/>
                        </a:rPr>
                        <a:t>sed</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ulvinar</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ultricie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uru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lectu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malesuada</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libero</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si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amet</a:t>
                      </a:r>
                      <a:r>
                        <a:rPr lang="de-DE" sz="1600" b="0" baseline="0" dirty="0">
                          <a:solidFill>
                            <a:srgbClr val="000000"/>
                          </a:solidFill>
                          <a:latin typeface="BMWGroupTN Condensed" pitchFamily="50" charset="0"/>
                          <a:sym typeface="BMW Group Condensed" panose="020B0606020202020204" pitchFamily="34" charset="0"/>
                        </a:rPr>
                        <a:t> commodo magna </a:t>
                      </a:r>
                      <a:r>
                        <a:rPr lang="de-DE" sz="1600" b="0" baseline="0" dirty="0" err="1">
                          <a:solidFill>
                            <a:srgbClr val="000000"/>
                          </a:solidFill>
                          <a:latin typeface="BMWGroupTN Condensed" pitchFamily="50" charset="0"/>
                          <a:sym typeface="BMW Group Condensed" panose="020B0606020202020204" pitchFamily="34" charset="0"/>
                        </a:rPr>
                        <a:t>ero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qui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urna</a:t>
                      </a:r>
                      <a:r>
                        <a:rPr lang="de-DE" sz="1600" b="0" baseline="0" dirty="0">
                          <a:solidFill>
                            <a:srgbClr val="000000"/>
                          </a:solidFill>
                          <a:latin typeface="BMWGroupTN Condensed" pitchFamily="50" charset="0"/>
                          <a:sym typeface="BMW Group Condensed" panose="020B0606020202020204" pitchFamily="34" charset="0"/>
                        </a:rPr>
                        <a:t>.</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877839">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sz="1600" b="0" baseline="0" dirty="0">
                          <a:solidFill>
                            <a:srgbClr val="000000"/>
                          </a:solidFill>
                          <a:latin typeface="BMWGroupTN Condensed" pitchFamily="50" charset="0"/>
                          <a:sym typeface="BMW Group Condensed" panose="020B0606020202020204" pitchFamily="34" charset="0"/>
                        </a:rPr>
                        <a:t>Maecenas </a:t>
                      </a:r>
                      <a:r>
                        <a:rPr lang="de-DE" sz="1600" b="0" baseline="0" dirty="0" err="1">
                          <a:solidFill>
                            <a:srgbClr val="000000"/>
                          </a:solidFill>
                          <a:latin typeface="BMWGroupTN Condensed" pitchFamily="50" charset="0"/>
                          <a:sym typeface="BMW Group Condensed" panose="020B0606020202020204" pitchFamily="34" charset="0"/>
                        </a:rPr>
                        <a:t>porttitor</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congu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massa</a:t>
                      </a:r>
                      <a:r>
                        <a:rPr lang="de-DE" sz="1600" b="0" baseline="0" dirty="0">
                          <a:solidFill>
                            <a:srgbClr val="000000"/>
                          </a:solidFill>
                          <a:latin typeface="BMWGroupTN Condensed" pitchFamily="50" charset="0"/>
                          <a:sym typeface="BMW Group Condensed" panose="020B0606020202020204" pitchFamily="34" charset="0"/>
                        </a:rPr>
                        <a:t>. </a:t>
                      </a:r>
                      <a:endParaRPr lang="de-DE" sz="1600" b="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de-DE" sz="1600" b="0" baseline="0" dirty="0" err="1">
                          <a:solidFill>
                            <a:srgbClr val="000000"/>
                          </a:solidFill>
                          <a:latin typeface="BMWGroupTN Condensed" pitchFamily="50" charset="0"/>
                          <a:sym typeface="BMW Group Condensed" panose="020B0606020202020204" pitchFamily="34" charset="0"/>
                        </a:rPr>
                        <a:t>Nunc</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viverra</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imperdie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enim</a:t>
                      </a:r>
                      <a:r>
                        <a:rPr lang="de-DE" sz="1600" b="0" baseline="0" dirty="0">
                          <a:solidFill>
                            <a:srgbClr val="000000"/>
                          </a:solidFill>
                          <a:latin typeface="BMWGroupTN Condensed" pitchFamily="50" charset="0"/>
                          <a:sym typeface="BMW Group Condensed" panose="020B0606020202020204" pitchFamily="34" charset="0"/>
                        </a:rPr>
                        <a:t>. </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77839">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sz="1600" b="0" baseline="0" dirty="0" err="1">
                          <a:solidFill>
                            <a:srgbClr val="000000"/>
                          </a:solidFill>
                          <a:latin typeface="BMWGroupTN Condensed" pitchFamily="50" charset="0"/>
                          <a:sym typeface="BMW Group Condensed" panose="020B0606020202020204" pitchFamily="34" charset="0"/>
                        </a:rPr>
                        <a:t>Fusc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osuere</a:t>
                      </a:r>
                      <a:r>
                        <a:rPr lang="de-DE" sz="1600" b="0" baseline="0" dirty="0">
                          <a:solidFill>
                            <a:srgbClr val="000000"/>
                          </a:solidFill>
                          <a:latin typeface="BMWGroupTN Condensed" pitchFamily="50" charset="0"/>
                          <a:sym typeface="BMW Group Condensed" panose="020B0606020202020204" pitchFamily="34" charset="0"/>
                        </a:rPr>
                        <a:t>, magna </a:t>
                      </a:r>
                      <a:r>
                        <a:rPr lang="de-DE" sz="1600" b="0" baseline="0" dirty="0" err="1">
                          <a:solidFill>
                            <a:srgbClr val="000000"/>
                          </a:solidFill>
                          <a:latin typeface="BMWGroupTN Condensed" pitchFamily="50" charset="0"/>
                          <a:sym typeface="BMW Group Condensed" panose="020B0606020202020204" pitchFamily="34" charset="0"/>
                        </a:rPr>
                        <a:t>sed</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ulvinar</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ultricie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uru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lectu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malesuada</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libero</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si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amet</a:t>
                      </a:r>
                      <a:r>
                        <a:rPr lang="de-DE" sz="1600" b="0" baseline="0" dirty="0">
                          <a:solidFill>
                            <a:srgbClr val="000000"/>
                          </a:solidFill>
                          <a:latin typeface="BMWGroupTN Condensed" pitchFamily="50" charset="0"/>
                          <a:sym typeface="BMW Group Condensed" panose="020B0606020202020204" pitchFamily="34" charset="0"/>
                        </a:rPr>
                        <a:t> commodo magna </a:t>
                      </a:r>
                      <a:r>
                        <a:rPr lang="de-DE" sz="1600" b="0" baseline="0" dirty="0" err="1">
                          <a:solidFill>
                            <a:srgbClr val="000000"/>
                          </a:solidFill>
                          <a:latin typeface="BMWGroupTN Condensed" pitchFamily="50" charset="0"/>
                          <a:sym typeface="BMW Group Condensed" panose="020B0606020202020204" pitchFamily="34" charset="0"/>
                        </a:rPr>
                        <a:t>ero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qui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urna</a:t>
                      </a:r>
                      <a:r>
                        <a:rPr lang="de-DE" sz="1600" b="0" baseline="0" dirty="0">
                          <a:solidFill>
                            <a:srgbClr val="000000"/>
                          </a:solidFill>
                          <a:latin typeface="BMWGroupTN Condensed" pitchFamily="50" charset="0"/>
                          <a:sym typeface="BMW Group Condensed" panose="020B0606020202020204" pitchFamily="34" charset="0"/>
                        </a:rPr>
                        <a:t>.</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de-DE" sz="1600" b="0" baseline="0" dirty="0" err="1">
                          <a:solidFill>
                            <a:srgbClr val="000000"/>
                          </a:solidFill>
                          <a:latin typeface="BMWGroupTN Condensed" pitchFamily="50" charset="0"/>
                          <a:sym typeface="BMW Group Condensed" panose="020B0606020202020204" pitchFamily="34" charset="0"/>
                        </a:rPr>
                        <a:t>Pellentesqu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habitan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morbi</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tristiqu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senectus</a:t>
                      </a:r>
                      <a:r>
                        <a:rPr lang="de-DE" sz="1600" b="0" baseline="0" dirty="0">
                          <a:solidFill>
                            <a:srgbClr val="000000"/>
                          </a:solidFill>
                          <a:latin typeface="BMWGroupTN Condensed" pitchFamily="50" charset="0"/>
                          <a:sym typeface="BMW Group Condensed" panose="020B0606020202020204" pitchFamily="34" charset="0"/>
                        </a:rPr>
                        <a:t> et </a:t>
                      </a:r>
                      <a:r>
                        <a:rPr lang="de-DE" sz="1600" b="0" baseline="0" dirty="0" err="1">
                          <a:solidFill>
                            <a:srgbClr val="000000"/>
                          </a:solidFill>
                          <a:latin typeface="BMWGroupTN Condensed" pitchFamily="50" charset="0"/>
                          <a:sym typeface="BMW Group Condensed" panose="020B0606020202020204" pitchFamily="34" charset="0"/>
                        </a:rPr>
                        <a:t>netus</a:t>
                      </a:r>
                      <a:r>
                        <a:rPr lang="de-DE" sz="1600" b="0" baseline="0" dirty="0">
                          <a:solidFill>
                            <a:srgbClr val="000000"/>
                          </a:solidFill>
                          <a:latin typeface="BMWGroupTN Condensed" pitchFamily="50" charset="0"/>
                          <a:sym typeface="BMW Group Condensed" panose="020B0606020202020204" pitchFamily="34" charset="0"/>
                        </a:rPr>
                        <a:t> et </a:t>
                      </a:r>
                      <a:r>
                        <a:rPr lang="de-DE" sz="1600" b="0" baseline="0" dirty="0" err="1">
                          <a:solidFill>
                            <a:srgbClr val="000000"/>
                          </a:solidFill>
                          <a:latin typeface="BMWGroupTN Condensed" pitchFamily="50" charset="0"/>
                          <a:sym typeface="BMW Group Condensed" panose="020B0606020202020204" pitchFamily="34" charset="0"/>
                        </a:rPr>
                        <a:t>malesuada</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fame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ac</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turpi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egesta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roin</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haretra</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nonummy</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ed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Mauris</a:t>
                      </a:r>
                      <a:r>
                        <a:rPr lang="de-DE" sz="1600" b="0" baseline="0" dirty="0">
                          <a:solidFill>
                            <a:srgbClr val="000000"/>
                          </a:solidFill>
                          <a:latin typeface="BMWGroupTN Condensed" pitchFamily="50" charset="0"/>
                          <a:sym typeface="BMW Group Condensed" panose="020B0606020202020204" pitchFamily="34" charset="0"/>
                        </a:rPr>
                        <a:t> et </a:t>
                      </a:r>
                      <a:r>
                        <a:rPr lang="de-DE" sz="1600" b="0" baseline="0" dirty="0" err="1">
                          <a:solidFill>
                            <a:srgbClr val="000000"/>
                          </a:solidFill>
                          <a:latin typeface="BMWGroupTN Condensed" pitchFamily="50" charset="0"/>
                          <a:sym typeface="BMW Group Condensed" panose="020B0606020202020204" pitchFamily="34" charset="0"/>
                        </a:rPr>
                        <a:t>orci</a:t>
                      </a:r>
                      <a:r>
                        <a:rPr lang="de-DE" sz="1600" b="0" baseline="0" dirty="0">
                          <a:solidFill>
                            <a:srgbClr val="000000"/>
                          </a:solidFill>
                          <a:latin typeface="BMWGroupTN Condensed" pitchFamily="50" charset="0"/>
                          <a:sym typeface="BMW Group Condensed" panose="020B0606020202020204" pitchFamily="34" charset="0"/>
                        </a:rPr>
                        <a:t>.</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877839">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de-DE" sz="1600" b="0" baseline="0" dirty="0" err="1">
                          <a:solidFill>
                            <a:srgbClr val="000000"/>
                          </a:solidFill>
                          <a:latin typeface="BMWGroupTN Condensed" pitchFamily="50" charset="0"/>
                          <a:sym typeface="BMW Group Condensed" panose="020B0606020202020204" pitchFamily="34" charset="0"/>
                        </a:rPr>
                        <a:t>Nunc</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viverra</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imperdie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enim</a:t>
                      </a:r>
                      <a:r>
                        <a:rPr lang="de-DE" sz="1600" b="0" baseline="0" dirty="0">
                          <a:solidFill>
                            <a:srgbClr val="000000"/>
                          </a:solidFill>
                          <a:latin typeface="BMWGroupTN Condensed" pitchFamily="50" charset="0"/>
                          <a:sym typeface="BMW Group Condensed" panose="020B0606020202020204" pitchFamily="34" charset="0"/>
                        </a:rPr>
                        <a:t>. </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sz="1600" b="0" baseline="0" dirty="0" err="1">
                          <a:solidFill>
                            <a:srgbClr val="000000"/>
                          </a:solidFill>
                          <a:latin typeface="BMWGroupTN Condensed" pitchFamily="50" charset="0"/>
                          <a:sym typeface="BMW Group Condensed" panose="020B0606020202020204" pitchFamily="34" charset="0"/>
                        </a:rPr>
                        <a:t>Lorem</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ipsum</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dolor</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si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ame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consectetuer</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adipiscing</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elit</a:t>
                      </a:r>
                      <a:r>
                        <a:rPr lang="de-DE" sz="1600" b="0" baseline="0" dirty="0">
                          <a:solidFill>
                            <a:srgbClr val="000000"/>
                          </a:solidFill>
                          <a:latin typeface="BMWGroupTN Condensed" pitchFamily="50" charset="0"/>
                          <a:sym typeface="BMW Group Condensed" panose="020B0606020202020204" pitchFamily="34" charset="0"/>
                        </a:rPr>
                        <a:t>. </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77839">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de-DE" sz="1600" b="0" baseline="0" dirty="0" err="1">
                          <a:solidFill>
                            <a:srgbClr val="000000"/>
                          </a:solidFill>
                          <a:latin typeface="BMWGroupTN Condensed" pitchFamily="50" charset="0"/>
                          <a:sym typeface="BMW Group Condensed" panose="020B0606020202020204" pitchFamily="34" charset="0"/>
                        </a:rPr>
                        <a:t>Pellentesqu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habitant</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morbi</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tristiqu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senectus</a:t>
                      </a:r>
                      <a:r>
                        <a:rPr lang="de-DE" sz="1600" b="0" baseline="0" dirty="0">
                          <a:solidFill>
                            <a:srgbClr val="000000"/>
                          </a:solidFill>
                          <a:latin typeface="BMWGroupTN Condensed" pitchFamily="50" charset="0"/>
                          <a:sym typeface="BMW Group Condensed" panose="020B0606020202020204" pitchFamily="34" charset="0"/>
                        </a:rPr>
                        <a:t> et </a:t>
                      </a:r>
                      <a:r>
                        <a:rPr lang="de-DE" sz="1600" b="0" baseline="0" dirty="0" err="1">
                          <a:solidFill>
                            <a:srgbClr val="000000"/>
                          </a:solidFill>
                          <a:latin typeface="BMWGroupTN Condensed" pitchFamily="50" charset="0"/>
                          <a:sym typeface="BMW Group Condensed" panose="020B0606020202020204" pitchFamily="34" charset="0"/>
                        </a:rPr>
                        <a:t>netus</a:t>
                      </a:r>
                      <a:r>
                        <a:rPr lang="de-DE" sz="1600" b="0" baseline="0" dirty="0">
                          <a:solidFill>
                            <a:srgbClr val="000000"/>
                          </a:solidFill>
                          <a:latin typeface="BMWGroupTN Condensed" pitchFamily="50" charset="0"/>
                          <a:sym typeface="BMW Group Condensed" panose="020B0606020202020204" pitchFamily="34" charset="0"/>
                        </a:rPr>
                        <a:t> et </a:t>
                      </a:r>
                      <a:r>
                        <a:rPr lang="de-DE" sz="1600" b="0" baseline="0" dirty="0" err="1">
                          <a:solidFill>
                            <a:srgbClr val="000000"/>
                          </a:solidFill>
                          <a:latin typeface="BMWGroupTN Condensed" pitchFamily="50" charset="0"/>
                          <a:sym typeface="BMW Group Condensed" panose="020B0606020202020204" pitchFamily="34" charset="0"/>
                        </a:rPr>
                        <a:t>malesuada</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fame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ac</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turpi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egestas</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roin</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haretra</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nonummy</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ped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Mauris</a:t>
                      </a:r>
                      <a:r>
                        <a:rPr lang="de-DE" sz="1600" b="0" baseline="0" dirty="0">
                          <a:solidFill>
                            <a:srgbClr val="000000"/>
                          </a:solidFill>
                          <a:latin typeface="BMWGroupTN Condensed" pitchFamily="50" charset="0"/>
                          <a:sym typeface="BMW Group Condensed" panose="020B0606020202020204" pitchFamily="34" charset="0"/>
                        </a:rPr>
                        <a:t> et </a:t>
                      </a:r>
                      <a:r>
                        <a:rPr lang="de-DE" sz="1600" b="0" baseline="0" dirty="0" err="1">
                          <a:solidFill>
                            <a:srgbClr val="000000"/>
                          </a:solidFill>
                          <a:latin typeface="BMWGroupTN Condensed" pitchFamily="50" charset="0"/>
                          <a:sym typeface="BMW Group Condensed" panose="020B0606020202020204" pitchFamily="34" charset="0"/>
                        </a:rPr>
                        <a:t>orci</a:t>
                      </a:r>
                      <a:r>
                        <a:rPr lang="de-DE" sz="1600" b="0" baseline="0" dirty="0">
                          <a:solidFill>
                            <a:srgbClr val="000000"/>
                          </a:solidFill>
                          <a:latin typeface="BMWGroupTN Condensed" pitchFamily="50" charset="0"/>
                          <a:sym typeface="BMW Group Condensed" panose="020B0606020202020204" pitchFamily="34" charset="0"/>
                        </a:rPr>
                        <a:t>.</a:t>
                      </a: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sz="1600" b="0" baseline="0" dirty="0">
                          <a:solidFill>
                            <a:srgbClr val="000000"/>
                          </a:solidFill>
                          <a:latin typeface="BMWGroupTN Condensed" pitchFamily="50" charset="0"/>
                          <a:sym typeface="BMW Group Condensed" panose="020B0606020202020204" pitchFamily="34" charset="0"/>
                        </a:rPr>
                        <a:t>Maecenas </a:t>
                      </a:r>
                      <a:r>
                        <a:rPr lang="de-DE" sz="1600" b="0" baseline="0" dirty="0" err="1">
                          <a:solidFill>
                            <a:srgbClr val="000000"/>
                          </a:solidFill>
                          <a:latin typeface="BMWGroupTN Condensed" pitchFamily="50" charset="0"/>
                          <a:sym typeface="BMW Group Condensed" panose="020B0606020202020204" pitchFamily="34" charset="0"/>
                        </a:rPr>
                        <a:t>porttitor</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congue</a:t>
                      </a:r>
                      <a:r>
                        <a:rPr lang="de-DE" sz="1600" b="0" baseline="0" dirty="0">
                          <a:solidFill>
                            <a:srgbClr val="000000"/>
                          </a:solidFill>
                          <a:latin typeface="BMWGroupTN Condensed" pitchFamily="50" charset="0"/>
                          <a:sym typeface="BMW Group Condensed" panose="020B0606020202020204" pitchFamily="34" charset="0"/>
                        </a:rPr>
                        <a:t> </a:t>
                      </a:r>
                      <a:r>
                        <a:rPr lang="de-DE" sz="1600" b="0" baseline="0" dirty="0" err="1">
                          <a:solidFill>
                            <a:srgbClr val="000000"/>
                          </a:solidFill>
                          <a:latin typeface="BMWGroupTN Condensed" pitchFamily="50" charset="0"/>
                          <a:sym typeface="BMW Group Condensed" panose="020B0606020202020204" pitchFamily="34" charset="0"/>
                        </a:rPr>
                        <a:t>massa</a:t>
                      </a:r>
                      <a:r>
                        <a:rPr lang="de-DE" sz="1600" b="0" baseline="0" dirty="0">
                          <a:solidFill>
                            <a:srgbClr val="000000"/>
                          </a:solidFill>
                          <a:latin typeface="BMWGroupTN Condensed" pitchFamily="50" charset="0"/>
                          <a:sym typeface="BMW Group Condensed" panose="020B0606020202020204" pitchFamily="34" charset="0"/>
                        </a:rPr>
                        <a:t>. </a:t>
                      </a:r>
                      <a:endParaRPr lang="de-DE" sz="1600" b="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grpSp>
        <p:nvGrpSpPr>
          <p:cNvPr id="9" name="Gruppieren 8"/>
          <p:cNvGrpSpPr/>
          <p:nvPr/>
        </p:nvGrpSpPr>
        <p:grpSpPr>
          <a:xfrm>
            <a:off x="628650" y="1838325"/>
            <a:ext cx="2282501" cy="4235903"/>
            <a:chOff x="557546" y="1497169"/>
            <a:chExt cx="1966489" cy="4552490"/>
          </a:xfrm>
        </p:grpSpPr>
        <p:sp>
          <p:nvSpPr>
            <p:cNvPr id="4" name="Rechteck 3"/>
            <p:cNvSpPr/>
            <p:nvPr/>
          </p:nvSpPr>
          <p:spPr>
            <a:xfrm>
              <a:off x="557546" y="1497169"/>
              <a:ext cx="1966489" cy="77867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de-DE" sz="1800" b="0" i="0" u="none" baseline="0" dirty="0" err="1">
                  <a:solidFill>
                    <a:schemeClr val="tx1"/>
                  </a:solidFill>
                  <a:latin typeface="BMWGroupTN Condensed" pitchFamily="50" charset="0"/>
                </a:rPr>
                <a:t>Placeholder</a:t>
              </a:r>
              <a:endParaRPr lang="de-DE" sz="1800" b="0" i="0" u="none" baseline="0" dirty="0">
                <a:solidFill>
                  <a:schemeClr val="tx1"/>
                </a:solidFill>
                <a:latin typeface="BMWGroupTN Condensed" pitchFamily="50" charset="0"/>
              </a:endParaRPr>
            </a:p>
          </p:txBody>
        </p:sp>
        <p:sp>
          <p:nvSpPr>
            <p:cNvPr id="5" name="Rechteck 4"/>
            <p:cNvSpPr/>
            <p:nvPr/>
          </p:nvSpPr>
          <p:spPr>
            <a:xfrm>
              <a:off x="557546" y="2440624"/>
              <a:ext cx="1966489" cy="77867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err="1">
                  <a:solidFill>
                    <a:schemeClr val="tx1"/>
                  </a:solidFill>
                  <a:latin typeface="BMWGroupTN Condensed" pitchFamily="50" charset="0"/>
                </a:rPr>
                <a:t>Placeholder</a:t>
              </a:r>
              <a:endParaRPr lang="de-DE" sz="1800" b="0" i="0" u="none" baseline="0" dirty="0">
                <a:solidFill>
                  <a:schemeClr val="tx1"/>
                </a:solidFill>
                <a:latin typeface="BMWGroupTN Condensed" pitchFamily="50" charset="0"/>
              </a:endParaRPr>
            </a:p>
          </p:txBody>
        </p:sp>
        <p:sp>
          <p:nvSpPr>
            <p:cNvPr id="6" name="Rechteck 5"/>
            <p:cNvSpPr/>
            <p:nvPr/>
          </p:nvSpPr>
          <p:spPr>
            <a:xfrm>
              <a:off x="557546" y="3384079"/>
              <a:ext cx="1966489" cy="77867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err="1">
                  <a:solidFill>
                    <a:schemeClr val="tx1"/>
                  </a:solidFill>
                  <a:latin typeface="BMWGroupTN Condensed" pitchFamily="50" charset="0"/>
                </a:rPr>
                <a:t>Placeholder</a:t>
              </a:r>
              <a:endParaRPr lang="de-DE" sz="1800" b="0" i="0" u="none" baseline="0" dirty="0">
                <a:solidFill>
                  <a:schemeClr val="tx1"/>
                </a:solidFill>
                <a:latin typeface="BMWGroupTN Condensed" pitchFamily="50" charset="0"/>
              </a:endParaRPr>
            </a:p>
          </p:txBody>
        </p:sp>
        <p:sp>
          <p:nvSpPr>
            <p:cNvPr id="7" name="Rechteck 6"/>
            <p:cNvSpPr/>
            <p:nvPr/>
          </p:nvSpPr>
          <p:spPr>
            <a:xfrm>
              <a:off x="557546" y="4327534"/>
              <a:ext cx="1966489" cy="77867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err="1">
                  <a:solidFill>
                    <a:schemeClr val="tx1"/>
                  </a:solidFill>
                  <a:latin typeface="BMWGroupTN Condensed" pitchFamily="50" charset="0"/>
                </a:rPr>
                <a:t>Placeholder</a:t>
              </a:r>
              <a:endParaRPr lang="de-DE" sz="1800" b="0" i="0" u="none" baseline="0" dirty="0">
                <a:solidFill>
                  <a:schemeClr val="tx1"/>
                </a:solidFill>
                <a:latin typeface="BMWGroupTN Condensed" pitchFamily="50" charset="0"/>
              </a:endParaRPr>
            </a:p>
          </p:txBody>
        </p:sp>
        <p:sp>
          <p:nvSpPr>
            <p:cNvPr id="8" name="Rechteck 7"/>
            <p:cNvSpPr/>
            <p:nvPr/>
          </p:nvSpPr>
          <p:spPr>
            <a:xfrm>
              <a:off x="557546" y="5270988"/>
              <a:ext cx="1966489" cy="77867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err="1">
                  <a:solidFill>
                    <a:schemeClr val="tx1"/>
                  </a:solidFill>
                  <a:latin typeface="BMWGroupTN Condensed" pitchFamily="50" charset="0"/>
                </a:rPr>
                <a:t>Placeholder</a:t>
              </a:r>
              <a:endParaRPr lang="de-DE" sz="1800" b="0" i="0" u="none" baseline="0" dirty="0">
                <a:solidFill>
                  <a:schemeClr val="tx1"/>
                </a:solidFill>
                <a:latin typeface="BMWGroupTN Condensed" pitchFamily="50" charset="0"/>
              </a:endParaRPr>
            </a:p>
          </p:txBody>
        </p:sp>
      </p:grpSp>
    </p:spTree>
    <p:custDataLst>
      <p:tags r:id="rId1"/>
    </p:custDataLst>
    <p:extLst>
      <p:ext uri="{BB962C8B-B14F-4D97-AF65-F5344CB8AC3E}">
        <p14:creationId xmlns:p14="http://schemas.microsoft.com/office/powerpoint/2010/main" val="11982631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87A7F43-358D-493B-84FB-C5D8B52C6C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12" name="Objekt 11" hidden="1">
                        <a:extLst>
                          <a:ext uri="{FF2B5EF4-FFF2-40B4-BE49-F238E27FC236}">
                            <a16:creationId xmlns:a16="http://schemas.microsoft.com/office/drawing/2014/main" id="{E87A7F43-358D-493B-84FB-C5D8B52C6C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D1B91C30-8374-40AC-9ACD-02E2BFDFEE79}"/>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de-DE" sz="2600" b="1" dirty="0">
              <a:solidFill>
                <a:schemeClr val="tx1"/>
              </a:solidFill>
              <a:latin typeface="BMWGroupTN Condensed" pitchFamily="50" charset="0"/>
              <a:ea typeface="+mj-ea"/>
              <a:cs typeface="+mj-cs"/>
              <a:sym typeface="BMW Group Condensed" panose="020B0606020202020204" pitchFamily="34" charset="0"/>
            </a:endParaRPr>
          </a:p>
        </p:txBody>
      </p:sp>
      <p:sp>
        <p:nvSpPr>
          <p:cNvPr id="2" name="Titel 1"/>
          <p:cNvSpPr>
            <a:spLocks noGrp="1"/>
          </p:cNvSpPr>
          <p:nvPr>
            <p:ph type="title"/>
          </p:nvPr>
        </p:nvSpPr>
        <p:spPr/>
        <p:txBody>
          <a:bodyPr vert="horz"/>
          <a:lstStyle/>
          <a:p>
            <a:r>
              <a:rPr lang="de-DE" dirty="0"/>
              <a:t>Table </a:t>
            </a:r>
            <a:r>
              <a:rPr lang="de-DE" dirty="0" err="1"/>
              <a:t>with</a:t>
            </a:r>
            <a:r>
              <a:rPr lang="de-DE" dirty="0"/>
              <a:t> </a:t>
            </a:r>
            <a:r>
              <a:rPr lang="de-DE" dirty="0" err="1"/>
              <a:t>Placeholders</a:t>
            </a:r>
            <a:r>
              <a:rPr lang="de-DE" dirty="0"/>
              <a:t> </a:t>
            </a:r>
            <a:r>
              <a:rPr lang="de-DE" dirty="0" err="1"/>
              <a:t>for</a:t>
            </a:r>
            <a:r>
              <a:rPr lang="de-DE" dirty="0"/>
              <a:t> Pictures/</a:t>
            </a:r>
            <a:r>
              <a:rPr lang="de-DE" dirty="0" err="1"/>
              <a:t>Grafics</a:t>
            </a:r>
            <a:r>
              <a:rPr lang="de-DE" dirty="0"/>
              <a:t>.</a:t>
            </a:r>
            <a:br>
              <a:rPr lang="de-DE" dirty="0"/>
            </a:br>
            <a:r>
              <a:rPr lang="de-DE" dirty="0"/>
              <a:t>5x3.</a:t>
            </a:r>
          </a:p>
        </p:txBody>
      </p:sp>
      <p:graphicFrame>
        <p:nvGraphicFramePr>
          <p:cNvPr id="3" name="Tabelle 2"/>
          <p:cNvGraphicFramePr>
            <a:graphicFrameLocks noGrp="1"/>
          </p:cNvGraphicFramePr>
          <p:nvPr>
            <p:extLst>
              <p:ext uri="{D42A27DB-BD31-4B8C-83A1-F6EECF244321}">
                <p14:modId xmlns:p14="http://schemas.microsoft.com/office/powerpoint/2010/main" val="2567787230"/>
              </p:ext>
            </p:extLst>
          </p:nvPr>
        </p:nvGraphicFramePr>
        <p:xfrm>
          <a:off x="786441" y="1062365"/>
          <a:ext cx="10619117" cy="4325579"/>
        </p:xfrm>
        <a:graphic>
          <a:graphicData uri="http://schemas.openxmlformats.org/drawingml/2006/table">
            <a:tbl>
              <a:tblPr firstRow="1" bandRow="1">
                <a:tableStyleId>{5C22544A-7EE6-4342-B048-85BDC9FD1C3A}</a:tableStyleId>
              </a:tblPr>
              <a:tblGrid>
                <a:gridCol w="169418">
                  <a:extLst>
                    <a:ext uri="{9D8B030D-6E8A-4147-A177-3AD203B41FA5}">
                      <a16:colId xmlns:a16="http://schemas.microsoft.com/office/drawing/2014/main" val="20001"/>
                    </a:ext>
                  </a:extLst>
                </a:gridCol>
                <a:gridCol w="5286401">
                  <a:extLst>
                    <a:ext uri="{9D8B030D-6E8A-4147-A177-3AD203B41FA5}">
                      <a16:colId xmlns:a16="http://schemas.microsoft.com/office/drawing/2014/main" val="20003"/>
                    </a:ext>
                  </a:extLst>
                </a:gridCol>
                <a:gridCol w="5163298">
                  <a:extLst>
                    <a:ext uri="{9D8B030D-6E8A-4147-A177-3AD203B41FA5}">
                      <a16:colId xmlns:a16="http://schemas.microsoft.com/office/drawing/2014/main" val="887617614"/>
                    </a:ext>
                  </a:extLst>
                </a:gridCol>
              </a:tblGrid>
              <a:tr h="317666">
                <a:tc>
                  <a:txBody>
                    <a:bodyPr/>
                    <a:lstStyle/>
                    <a:p>
                      <a:pPr>
                        <a:lnSpc>
                          <a:spcPct val="93000"/>
                        </a:lnSpc>
                      </a:pPr>
                      <a:endParaRPr lang="de-DE" b="0" dirty="0">
                        <a:solidFill>
                          <a:schemeClr val="bg1"/>
                        </a:solidFill>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de-DE" b="0" baseline="0" dirty="0" err="1">
                          <a:solidFill>
                            <a:schemeClr val="bg1"/>
                          </a:solidFill>
                          <a:latin typeface="BMWGroupTN Condensed" pitchFamily="50" charset="0"/>
                          <a:sym typeface="BMW Group Condensed" panose="020B0606020202020204" pitchFamily="34" charset="0"/>
                        </a:rPr>
                        <a:t>Functional</a:t>
                      </a:r>
                      <a:r>
                        <a:rPr lang="de-DE" b="0" baseline="0" dirty="0">
                          <a:solidFill>
                            <a:schemeClr val="bg1"/>
                          </a:solidFill>
                          <a:latin typeface="BMWGroupTN Condensed" pitchFamily="50" charset="0"/>
                          <a:sym typeface="BMW Group Condensed" panose="020B0606020202020204" pitchFamily="34" charset="0"/>
                        </a:rPr>
                        <a:t> </a:t>
                      </a:r>
                      <a:r>
                        <a:rPr lang="de-DE" b="0" baseline="0" dirty="0" err="1">
                          <a:solidFill>
                            <a:schemeClr val="bg1"/>
                          </a:solidFill>
                          <a:latin typeface="BMWGroupTN Condensed" pitchFamily="50" charset="0"/>
                          <a:sym typeface="BMW Group Condensed" panose="020B0606020202020204" pitchFamily="34" charset="0"/>
                        </a:rPr>
                        <a:t>Requirement</a:t>
                      </a:r>
                      <a:endParaRPr lang="de-DE" b="0" baseline="0" dirty="0">
                        <a:solidFill>
                          <a:schemeClr val="bg1"/>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de-DE" b="0" baseline="0" dirty="0">
                          <a:solidFill>
                            <a:schemeClr val="bg1"/>
                          </a:solidFill>
                          <a:latin typeface="BMWGroupTN Condensed" pitchFamily="50" charset="0"/>
                          <a:sym typeface="BMW Group Condensed" panose="020B0606020202020204" pitchFamily="34" charset="0"/>
                        </a:rPr>
                        <a:t>Non </a:t>
                      </a:r>
                      <a:r>
                        <a:rPr lang="de-DE" b="0" baseline="0" dirty="0" err="1">
                          <a:solidFill>
                            <a:schemeClr val="bg1"/>
                          </a:solidFill>
                          <a:latin typeface="BMWGroupTN Condensed" pitchFamily="50" charset="0"/>
                          <a:sym typeface="BMW Group Condensed" panose="020B0606020202020204" pitchFamily="34" charset="0"/>
                        </a:rPr>
                        <a:t>Functional</a:t>
                      </a:r>
                      <a:r>
                        <a:rPr lang="de-DE" b="0" baseline="0" dirty="0">
                          <a:solidFill>
                            <a:schemeClr val="bg1"/>
                          </a:solidFill>
                          <a:latin typeface="BMWGroupTN Condensed" pitchFamily="50" charset="0"/>
                          <a:sym typeface="BMW Group Condensed" panose="020B0606020202020204" pitchFamily="34" charset="0"/>
                        </a:rPr>
                        <a:t> </a:t>
                      </a:r>
                      <a:r>
                        <a:rPr lang="de-DE" b="0" baseline="0" dirty="0" err="1">
                          <a:solidFill>
                            <a:schemeClr val="bg1"/>
                          </a:solidFill>
                          <a:latin typeface="BMWGroupTN Condensed" pitchFamily="50" charset="0"/>
                          <a:sym typeface="BMW Group Condensed" panose="020B0606020202020204" pitchFamily="34" charset="0"/>
                        </a:rPr>
                        <a:t>Requirement</a:t>
                      </a:r>
                      <a:endParaRPr lang="de-DE" b="0" baseline="0" dirty="0">
                        <a:solidFill>
                          <a:schemeClr val="bg1"/>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05736597"/>
                  </a:ext>
                </a:extLst>
              </a:tr>
              <a:tr h="742436">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en-US" sz="1600" b="1" dirty="0"/>
                        <a:t>Document Lifecycle Tracking</a:t>
                      </a:r>
                      <a:r>
                        <a:rPr lang="en-US" sz="1600" dirty="0"/>
                        <a:t> The system must allow tracking of documents through stages: Technical Reading, Implementation, and Effectiveness Check.</a:t>
                      </a:r>
                      <a:endParaRPr lang="de-DE" sz="1600" b="0" baseline="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en-US" sz="1600" b="1" dirty="0"/>
                        <a:t>Scalability</a:t>
                      </a:r>
                      <a:r>
                        <a:rPr lang="en-US" sz="1600" dirty="0"/>
                        <a:t> The system should be scalable to support additional countries or document types without major redesign.</a:t>
                      </a:r>
                      <a:endParaRPr lang="de-DE" sz="1600" b="0" baseline="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50901">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en-US" sz="1600" b="1" dirty="0"/>
                        <a:t>Multi-Country Data Handling</a:t>
                      </a:r>
                      <a:r>
                        <a:rPr lang="en-US" sz="1600" dirty="0"/>
                        <a:t> The system must support structured data input and processing for all participating countries (India, Brazil, Thailand, Egypt, Malaysia, Indonesia, Vietnam).</a:t>
                      </a:r>
                      <a:endParaRPr lang="de-DE" sz="1600" b="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en-US" sz="1600" b="1" dirty="0"/>
                        <a:t>Reliability</a:t>
                      </a:r>
                      <a:r>
                        <a:rPr lang="en-US" sz="1600" dirty="0"/>
                        <a:t> The system should ensure consistent data refreshes and alert triggers without failure.</a:t>
                      </a:r>
                      <a:endParaRPr lang="de-DE" sz="1600" b="0" baseline="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42436">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en-US" sz="1600" b="1" dirty="0"/>
                        <a:t>Predictive KPI Evaluation</a:t>
                      </a:r>
                      <a:r>
                        <a:rPr lang="en-US" sz="1600" dirty="0"/>
                        <a:t> The system must calculate delay risks and effectiveness scores for each document-country pair using embedded logic.</a:t>
                      </a:r>
                      <a:endParaRPr lang="de-DE" sz="1600" b="0" baseline="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en-US" sz="1600" b="1" dirty="0"/>
                        <a:t>Performance</a:t>
                      </a:r>
                      <a:r>
                        <a:rPr lang="en-US" sz="1600" dirty="0"/>
                        <a:t> Data processing and dashboard updates should occur within acceptable time limits to support real-time monitoring.</a:t>
                      </a:r>
                      <a:endParaRPr lang="de-DE" sz="1600" b="0" baseline="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72886">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en-US" sz="1600" b="1" dirty="0"/>
                        <a:t>Dashboard Visualization</a:t>
                      </a:r>
                      <a:r>
                        <a:rPr lang="en-US" sz="1600" dirty="0"/>
                        <a:t> The system must display document status, country-wise progress, and pending actions in an interactive dashboard.</a:t>
                      </a:r>
                      <a:endParaRPr lang="de-DE" sz="1600" b="0" baseline="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en-US" sz="1600" b="1" dirty="0"/>
                        <a:t>Maintainability</a:t>
                      </a:r>
                      <a:r>
                        <a:rPr lang="en-US" sz="1600" dirty="0"/>
                        <a:t> The system should allow easy updates to logic, data sources, or dashboard components without disrupting existing workflows.</a:t>
                      </a:r>
                      <a:endParaRPr lang="de-DE" sz="1600" b="0" baseline="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742436">
                <a:tc>
                  <a:txBody>
                    <a:bodyPr/>
                    <a:lstStyle/>
                    <a:p>
                      <a:pPr>
                        <a:lnSpc>
                          <a:spcPct val="93000"/>
                        </a:lnSpc>
                      </a:pPr>
                      <a:endParaRPr lang="de-DE" b="0" dirty="0"/>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77" rtl="0" eaLnBrk="1" fontAlgn="auto" latinLnBrk="0" hangingPunct="1">
                        <a:lnSpc>
                          <a:spcPct val="93000"/>
                        </a:lnSpc>
                        <a:spcBef>
                          <a:spcPts val="0"/>
                        </a:spcBef>
                        <a:spcAft>
                          <a:spcPts val="0"/>
                        </a:spcAft>
                        <a:buClrTx/>
                        <a:buSzTx/>
                        <a:buFontTx/>
                        <a:buNone/>
                        <a:tabLst/>
                        <a:defRPr/>
                      </a:pPr>
                      <a:r>
                        <a:rPr lang="en-US" sz="1600" b="1" dirty="0"/>
                        <a:t>Mail Alert Triggering</a:t>
                      </a:r>
                      <a:r>
                        <a:rPr lang="en-US" sz="1600" dirty="0"/>
                        <a:t> The system must send automated alerts for pending or overdue actions based on document status.</a:t>
                      </a:r>
                      <a:endParaRPr lang="de-DE" sz="1600" b="0" baseline="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377" rtl="0" eaLnBrk="1" fontAlgn="auto" latinLnBrk="0" hangingPunct="1">
                        <a:lnSpc>
                          <a:spcPct val="93000"/>
                        </a:lnSpc>
                        <a:spcBef>
                          <a:spcPts val="0"/>
                        </a:spcBef>
                        <a:spcAft>
                          <a:spcPts val="0"/>
                        </a:spcAft>
                        <a:buClrTx/>
                        <a:buSzTx/>
                        <a:buFontTx/>
                        <a:buNone/>
                        <a:tabLst/>
                        <a:defRPr/>
                      </a:pPr>
                      <a:r>
                        <a:rPr lang="en-US" sz="1600" b="1" dirty="0"/>
                        <a:t>Security</a:t>
                      </a:r>
                      <a:r>
                        <a:rPr lang="en-US" sz="1600" dirty="0"/>
                        <a:t> Access to document data and audit logs should be restricted based on user roles or permissions.</a:t>
                      </a:r>
                      <a:endParaRPr lang="de-DE" sz="1600" b="0" dirty="0">
                        <a:solidFill>
                          <a:srgbClr val="000000"/>
                        </a:solidFill>
                        <a:latin typeface="BMWGroupTN Condensed" pitchFamily="50" charset="0"/>
                        <a:sym typeface="BMW Group Condensed" panose="020B0606020202020204" pitchFamily="34" charset="0"/>
                      </a:endParaRPr>
                    </a:p>
                  </a:txBody>
                  <a:tcPr marL="72009" marR="72009" marT="35941" marB="35941" anchor="ctr">
                    <a:lnL w="0" cap="flat" cmpd="sng" algn="ctr">
                      <a:solidFill>
                        <a:srgbClr val="FFFFFF">
                          <a:alpha val="0"/>
                        </a:srgbClr>
                      </a:solidFill>
                      <a:prstDash val="solid"/>
                      <a:round/>
                      <a:headEnd type="none" w="med" len="med"/>
                      <a:tailEnd type="none" w="med" len="med"/>
                    </a:lnL>
                    <a:lnR w="0" cap="flat" cmpd="sng" algn="ctr">
                      <a:solidFill>
                        <a:srgbClr val="FFFFFF">
                          <a:alpha val="0"/>
                        </a:srgbClr>
                      </a:solidFill>
                      <a:prstDash val="solid"/>
                      <a:round/>
                      <a:headEnd type="none" w="med" len="med"/>
                      <a:tailEnd type="none" w="med" len="med"/>
                    </a:lnR>
                    <a:lnT w="952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graphicFrame>
        <p:nvGraphicFramePr>
          <p:cNvPr id="10" name="Table 9">
            <a:extLst>
              <a:ext uri="{FF2B5EF4-FFF2-40B4-BE49-F238E27FC236}">
                <a16:creationId xmlns:a16="http://schemas.microsoft.com/office/drawing/2014/main" id="{CF5478EC-9468-BCDA-2EA6-AEA182E6E8B4}"/>
              </a:ext>
            </a:extLst>
          </p:cNvPr>
          <p:cNvGraphicFramePr>
            <a:graphicFrameLocks noGrp="1"/>
          </p:cNvGraphicFramePr>
          <p:nvPr>
            <p:extLst>
              <p:ext uri="{D42A27DB-BD31-4B8C-83A1-F6EECF244321}">
                <p14:modId xmlns:p14="http://schemas.microsoft.com/office/powerpoint/2010/main" val="4081370580"/>
              </p:ext>
            </p:extLst>
          </p:nvPr>
        </p:nvGraphicFramePr>
        <p:xfrm>
          <a:off x="793630" y="5365630"/>
          <a:ext cx="5451895" cy="707366"/>
        </p:xfrm>
        <a:graphic>
          <a:graphicData uri="http://schemas.openxmlformats.org/drawingml/2006/table">
            <a:tbl>
              <a:tblPr/>
              <a:tblGrid>
                <a:gridCol w="5451895">
                  <a:extLst>
                    <a:ext uri="{9D8B030D-6E8A-4147-A177-3AD203B41FA5}">
                      <a16:colId xmlns:a16="http://schemas.microsoft.com/office/drawing/2014/main" val="3917912379"/>
                    </a:ext>
                  </a:extLst>
                </a:gridCol>
              </a:tblGrid>
              <a:tr h="707366">
                <a:tc>
                  <a:txBody>
                    <a:bodyPr/>
                    <a:lstStyle/>
                    <a:p>
                      <a:r>
                        <a:rPr lang="en-US" b="1" dirty="0"/>
                        <a:t>Audit Trail Logging</a:t>
                      </a:r>
                      <a:r>
                        <a:rPr lang="en-US" dirty="0"/>
                        <a:t> The system must log user actions and data changes for traceability and compliance verification.</a:t>
                      </a:r>
                      <a:endParaRPr lang="en-GB" dirty="0"/>
                    </a:p>
                  </a:txBody>
                  <a:tcPr>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extLst>
                  <a:ext uri="{0D108BD9-81ED-4DB2-BD59-A6C34878D82A}">
                    <a16:rowId xmlns:a16="http://schemas.microsoft.com/office/drawing/2014/main" val="2897917077"/>
                  </a:ext>
                </a:extLst>
              </a:tr>
            </a:tbl>
          </a:graphicData>
        </a:graphic>
      </p:graphicFrame>
    </p:spTree>
    <p:custDataLst>
      <p:tags r:id="rId1"/>
    </p:custDataLst>
    <p:extLst>
      <p:ext uri="{BB962C8B-B14F-4D97-AF65-F5344CB8AC3E}">
        <p14:creationId xmlns:p14="http://schemas.microsoft.com/office/powerpoint/2010/main" val="535152984"/>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16" name="Objekt 1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9C664CEE-3F7C-4BBE-BFAA-2DA60CC7C844}"/>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GroupTN Condensed" pitchFamily="50" charset="0"/>
              <a:ea typeface="+mj-ea"/>
              <a:cs typeface="+mj-cs"/>
              <a:sym typeface="BMW Group Condensed" panose="020B0606020202020204" pitchFamily="34" charset="0"/>
            </a:endParaRPr>
          </a:p>
        </p:txBody>
      </p:sp>
      <p:sp>
        <p:nvSpPr>
          <p:cNvPr id="17" name="Freihandform: Form 16"/>
          <p:cNvSpPr/>
          <p:nvPr/>
        </p:nvSpPr>
        <p:spPr>
          <a:xfrm>
            <a:off x="477836" y="1409700"/>
            <a:ext cx="6596856" cy="3898900"/>
          </a:xfrm>
          <a:custGeom>
            <a:avLst/>
            <a:gdLst>
              <a:gd name="connsiteX0" fmla="*/ 0 w 6596856"/>
              <a:gd name="connsiteY0" fmla="*/ 0 h 3898900"/>
              <a:gd name="connsiteX1" fmla="*/ 5618163 w 6596856"/>
              <a:gd name="connsiteY1" fmla="*/ 0 h 3898900"/>
              <a:gd name="connsiteX2" fmla="*/ 5618163 w 6596856"/>
              <a:gd name="connsiteY2" fmla="*/ 200 h 3898900"/>
              <a:gd name="connsiteX3" fmla="*/ 5622131 w 6596856"/>
              <a:gd name="connsiteY3" fmla="*/ 0 h 3898900"/>
              <a:gd name="connsiteX4" fmla="*/ 6596856 w 6596856"/>
              <a:gd name="connsiteY4" fmla="*/ 974725 h 3898900"/>
              <a:gd name="connsiteX5" fmla="*/ 5622131 w 6596856"/>
              <a:gd name="connsiteY5" fmla="*/ 1949450 h 3898900"/>
              <a:gd name="connsiteX6" fmla="*/ 5618163 w 6596856"/>
              <a:gd name="connsiteY6" fmla="*/ 1949250 h 3898900"/>
              <a:gd name="connsiteX7" fmla="*/ 5618163 w 6596856"/>
              <a:gd name="connsiteY7" fmla="*/ 1949651 h 3898900"/>
              <a:gd name="connsiteX8" fmla="*/ 5522472 w 6596856"/>
              <a:gd name="connsiteY8" fmla="*/ 1954483 h 3898900"/>
              <a:gd name="connsiteX9" fmla="*/ 4647407 w 6596856"/>
              <a:gd name="connsiteY9" fmla="*/ 2924175 h 3898900"/>
              <a:gd name="connsiteX10" fmla="*/ 5522472 w 6596856"/>
              <a:gd name="connsiteY10" fmla="*/ 3893868 h 3898900"/>
              <a:gd name="connsiteX11" fmla="*/ 5618163 w 6596856"/>
              <a:gd name="connsiteY11" fmla="*/ 3898700 h 3898900"/>
              <a:gd name="connsiteX12" fmla="*/ 5618163 w 6596856"/>
              <a:gd name="connsiteY12" fmla="*/ 3898900 h 3898900"/>
              <a:gd name="connsiteX13" fmla="*/ 0 w 6596856"/>
              <a:gd name="connsiteY13" fmla="*/ 3898900 h 389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96856" h="3898900">
                <a:moveTo>
                  <a:pt x="0" y="0"/>
                </a:moveTo>
                <a:lnTo>
                  <a:pt x="5618163" y="0"/>
                </a:lnTo>
                <a:lnTo>
                  <a:pt x="5618163" y="200"/>
                </a:lnTo>
                <a:lnTo>
                  <a:pt x="5622131" y="0"/>
                </a:lnTo>
                <a:cubicBezTo>
                  <a:pt x="6160457" y="0"/>
                  <a:pt x="6596856" y="436399"/>
                  <a:pt x="6596856" y="974725"/>
                </a:cubicBezTo>
                <a:cubicBezTo>
                  <a:pt x="6596856" y="1513051"/>
                  <a:pt x="6160457" y="1949450"/>
                  <a:pt x="5622131" y="1949450"/>
                </a:cubicBezTo>
                <a:lnTo>
                  <a:pt x="5618163" y="1949250"/>
                </a:lnTo>
                <a:lnTo>
                  <a:pt x="5618163" y="1949651"/>
                </a:lnTo>
                <a:lnTo>
                  <a:pt x="5522472" y="1954483"/>
                </a:lnTo>
                <a:cubicBezTo>
                  <a:pt x="5030961" y="2004398"/>
                  <a:pt x="4647407" y="2419495"/>
                  <a:pt x="4647407" y="2924175"/>
                </a:cubicBezTo>
                <a:cubicBezTo>
                  <a:pt x="4647407" y="3428856"/>
                  <a:pt x="5030961" y="3843952"/>
                  <a:pt x="5522472" y="3893868"/>
                </a:cubicBezTo>
                <a:lnTo>
                  <a:pt x="5618163" y="3898700"/>
                </a:lnTo>
                <a:lnTo>
                  <a:pt x="5618163" y="3898900"/>
                </a:lnTo>
                <a:lnTo>
                  <a:pt x="0" y="3898900"/>
                </a:lnTo>
                <a:close/>
              </a:path>
            </a:pathLst>
          </a:custGeom>
          <a:gradFill flip="none" rotWithShape="1">
            <a:gsLst>
              <a:gs pos="0">
                <a:schemeClr val="lt1"/>
              </a:gs>
              <a:gs pos="100000">
                <a:schemeClr val="accent4"/>
              </a:gs>
            </a:gsLst>
            <a:lin ang="5400000" scaled="1"/>
            <a:tileRect/>
          </a:gra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dirty="0" err="1">
              <a:solidFill>
                <a:srgbClr val="666666"/>
              </a:solidFill>
              <a:latin typeface="BMWGroupTN Condensed" pitchFamily="50" charset="0"/>
            </a:endParaRPr>
          </a:p>
        </p:txBody>
      </p:sp>
      <p:sp>
        <p:nvSpPr>
          <p:cNvPr id="18" name="Freihandform: Form 17"/>
          <p:cNvSpPr/>
          <p:nvPr/>
        </p:nvSpPr>
        <p:spPr>
          <a:xfrm rot="10800000">
            <a:off x="5125244" y="1409700"/>
            <a:ext cx="6596856" cy="3898900"/>
          </a:xfrm>
          <a:custGeom>
            <a:avLst/>
            <a:gdLst>
              <a:gd name="connsiteX0" fmla="*/ 0 w 6596856"/>
              <a:gd name="connsiteY0" fmla="*/ 0 h 3898900"/>
              <a:gd name="connsiteX1" fmla="*/ 5618163 w 6596856"/>
              <a:gd name="connsiteY1" fmla="*/ 0 h 3898900"/>
              <a:gd name="connsiteX2" fmla="*/ 5618163 w 6596856"/>
              <a:gd name="connsiteY2" fmla="*/ 200 h 3898900"/>
              <a:gd name="connsiteX3" fmla="*/ 5622131 w 6596856"/>
              <a:gd name="connsiteY3" fmla="*/ 0 h 3898900"/>
              <a:gd name="connsiteX4" fmla="*/ 6596856 w 6596856"/>
              <a:gd name="connsiteY4" fmla="*/ 974725 h 3898900"/>
              <a:gd name="connsiteX5" fmla="*/ 5622131 w 6596856"/>
              <a:gd name="connsiteY5" fmla="*/ 1949450 h 3898900"/>
              <a:gd name="connsiteX6" fmla="*/ 5618163 w 6596856"/>
              <a:gd name="connsiteY6" fmla="*/ 1949250 h 3898900"/>
              <a:gd name="connsiteX7" fmla="*/ 5618163 w 6596856"/>
              <a:gd name="connsiteY7" fmla="*/ 1949651 h 3898900"/>
              <a:gd name="connsiteX8" fmla="*/ 5522472 w 6596856"/>
              <a:gd name="connsiteY8" fmla="*/ 1954483 h 3898900"/>
              <a:gd name="connsiteX9" fmla="*/ 4647407 w 6596856"/>
              <a:gd name="connsiteY9" fmla="*/ 2924175 h 3898900"/>
              <a:gd name="connsiteX10" fmla="*/ 5522472 w 6596856"/>
              <a:gd name="connsiteY10" fmla="*/ 3893868 h 3898900"/>
              <a:gd name="connsiteX11" fmla="*/ 5618163 w 6596856"/>
              <a:gd name="connsiteY11" fmla="*/ 3898700 h 3898900"/>
              <a:gd name="connsiteX12" fmla="*/ 5618163 w 6596856"/>
              <a:gd name="connsiteY12" fmla="*/ 3898900 h 3898900"/>
              <a:gd name="connsiteX13" fmla="*/ 0 w 6596856"/>
              <a:gd name="connsiteY13" fmla="*/ 3898900 h 389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96856" h="3898900">
                <a:moveTo>
                  <a:pt x="0" y="0"/>
                </a:moveTo>
                <a:lnTo>
                  <a:pt x="5618163" y="0"/>
                </a:lnTo>
                <a:lnTo>
                  <a:pt x="5618163" y="200"/>
                </a:lnTo>
                <a:lnTo>
                  <a:pt x="5622131" y="0"/>
                </a:lnTo>
                <a:cubicBezTo>
                  <a:pt x="6160457" y="0"/>
                  <a:pt x="6596856" y="436399"/>
                  <a:pt x="6596856" y="974725"/>
                </a:cubicBezTo>
                <a:cubicBezTo>
                  <a:pt x="6596856" y="1513051"/>
                  <a:pt x="6160457" y="1949450"/>
                  <a:pt x="5622131" y="1949450"/>
                </a:cubicBezTo>
                <a:lnTo>
                  <a:pt x="5618163" y="1949250"/>
                </a:lnTo>
                <a:lnTo>
                  <a:pt x="5618163" y="1949651"/>
                </a:lnTo>
                <a:lnTo>
                  <a:pt x="5522472" y="1954483"/>
                </a:lnTo>
                <a:cubicBezTo>
                  <a:pt x="5030961" y="2004398"/>
                  <a:pt x="4647407" y="2419495"/>
                  <a:pt x="4647407" y="2924175"/>
                </a:cubicBezTo>
                <a:cubicBezTo>
                  <a:pt x="4647407" y="3428856"/>
                  <a:pt x="5030961" y="3843952"/>
                  <a:pt x="5522472" y="3893868"/>
                </a:cubicBezTo>
                <a:lnTo>
                  <a:pt x="5618163" y="3898700"/>
                </a:lnTo>
                <a:lnTo>
                  <a:pt x="5618163" y="3898900"/>
                </a:lnTo>
                <a:lnTo>
                  <a:pt x="0" y="3898900"/>
                </a:lnTo>
                <a:close/>
              </a:path>
            </a:pathLst>
          </a:custGeom>
          <a:gradFill flip="none" rotWithShape="1">
            <a:gsLst>
              <a:gs pos="0">
                <a:schemeClr val="lt1"/>
              </a:gs>
              <a:gs pos="100000">
                <a:schemeClr val="accent4"/>
              </a:gs>
            </a:gsLst>
            <a:lin ang="5400000" scaled="1"/>
            <a:tileRect/>
          </a:gra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dirty="0" err="1">
              <a:solidFill>
                <a:srgbClr val="666666"/>
              </a:solidFill>
              <a:latin typeface="BMWGroupTN Condensed" pitchFamily="50" charset="0"/>
            </a:endParaRPr>
          </a:p>
        </p:txBody>
      </p:sp>
      <p:sp>
        <p:nvSpPr>
          <p:cNvPr id="2" name="Titel 1"/>
          <p:cNvSpPr>
            <a:spLocks noGrp="1"/>
          </p:cNvSpPr>
          <p:nvPr>
            <p:ph type="title"/>
          </p:nvPr>
        </p:nvSpPr>
        <p:spPr>
          <a:xfrm>
            <a:off x="488950" y="347663"/>
            <a:ext cx="11225213" cy="400110"/>
          </a:xfrm>
        </p:spPr>
        <p:txBody>
          <a:bodyPr vert="horz"/>
          <a:lstStyle/>
          <a:p>
            <a:r>
              <a:rPr lang="en-GB"/>
              <a:t>Chances and Risks.</a:t>
            </a:r>
            <a:endParaRPr lang="en-GB" dirty="0"/>
          </a:p>
        </p:txBody>
      </p:sp>
      <p:sp>
        <p:nvSpPr>
          <p:cNvPr id="7" name="Rechteck 6"/>
          <p:cNvSpPr/>
          <p:nvPr/>
        </p:nvSpPr>
        <p:spPr>
          <a:xfrm>
            <a:off x="5358015" y="2163889"/>
            <a:ext cx="1479893" cy="493084"/>
          </a:xfrm>
          <a:prstGeom prst="rect">
            <a:avLst/>
          </a:prstGeom>
        </p:spPr>
        <p:txBody>
          <a:bodyPr wrap="none">
            <a:spAutoFit/>
          </a:bodyPr>
          <a:lstStyle/>
          <a:p>
            <a:pPr marL="228600" indent="-228600" algn="ctr">
              <a:lnSpc>
                <a:spcPct val="93000"/>
              </a:lnSpc>
              <a:spcAft>
                <a:spcPts val="1200"/>
              </a:spcAft>
            </a:pPr>
            <a:r>
              <a:rPr lang="en-GB" sz="2800" b="1">
                <a:solidFill>
                  <a:schemeClr val="lt1"/>
                </a:solidFill>
              </a:rPr>
              <a:t>Chancen</a:t>
            </a:r>
            <a:endParaRPr lang="en-GB" sz="2800" b="1" dirty="0">
              <a:solidFill>
                <a:schemeClr val="lt1"/>
              </a:solidFill>
            </a:endParaRPr>
          </a:p>
        </p:txBody>
      </p:sp>
      <p:sp>
        <p:nvSpPr>
          <p:cNvPr id="8" name="Rechteck 7"/>
          <p:cNvSpPr/>
          <p:nvPr/>
        </p:nvSpPr>
        <p:spPr>
          <a:xfrm>
            <a:off x="5458587" y="4117819"/>
            <a:ext cx="1278748" cy="493084"/>
          </a:xfrm>
          <a:prstGeom prst="rect">
            <a:avLst/>
          </a:prstGeom>
        </p:spPr>
        <p:txBody>
          <a:bodyPr wrap="none">
            <a:spAutoFit/>
          </a:bodyPr>
          <a:lstStyle/>
          <a:p>
            <a:pPr marL="228600" indent="-228600" algn="ctr">
              <a:lnSpc>
                <a:spcPct val="93000"/>
              </a:lnSpc>
              <a:spcAft>
                <a:spcPts val="1200"/>
              </a:spcAft>
            </a:pPr>
            <a:r>
              <a:rPr lang="en-GB" sz="2800" b="1">
                <a:solidFill>
                  <a:schemeClr val="lt1"/>
                </a:solidFill>
              </a:rPr>
              <a:t>Risiken</a:t>
            </a:r>
            <a:endParaRPr lang="en-GB" sz="2800" b="1" dirty="0">
              <a:solidFill>
                <a:schemeClr val="lt1"/>
              </a:solidFill>
            </a:endParaRPr>
          </a:p>
        </p:txBody>
      </p:sp>
      <p:sp>
        <p:nvSpPr>
          <p:cNvPr id="10" name="Ellipse 9"/>
          <p:cNvSpPr/>
          <p:nvPr/>
        </p:nvSpPr>
        <p:spPr>
          <a:xfrm>
            <a:off x="5454665" y="3711690"/>
            <a:ext cx="1282670" cy="1282670"/>
          </a:xfrm>
          <a:prstGeom prst="ellipse">
            <a:avLst/>
          </a:prstGeom>
          <a:solidFill>
            <a:srgbClr val="B20F1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36000" rtlCol="0" anchor="ctr" anchorCtr="1"/>
          <a:lstStyle/>
          <a:p>
            <a:r>
              <a:rPr lang="en-GB" sz="2000">
                <a:solidFill>
                  <a:schemeClr val="bg1"/>
                </a:solidFill>
                <a:latin typeface="BMWGroupTN Condensed" pitchFamily="50" charset="0"/>
              </a:rPr>
              <a:t>Risiken</a:t>
            </a:r>
            <a:endParaRPr lang="en-GB" sz="2000" dirty="0">
              <a:solidFill>
                <a:schemeClr val="bg1"/>
              </a:solidFill>
              <a:latin typeface="BMWGroupTN Condensed" pitchFamily="50" charset="0"/>
            </a:endParaRPr>
          </a:p>
        </p:txBody>
      </p:sp>
      <p:sp>
        <p:nvSpPr>
          <p:cNvPr id="11" name="Ellipse 10"/>
          <p:cNvSpPr/>
          <p:nvPr/>
        </p:nvSpPr>
        <p:spPr>
          <a:xfrm>
            <a:off x="5454665" y="1741237"/>
            <a:ext cx="1282670" cy="1282670"/>
          </a:xfrm>
          <a:prstGeom prst="ellipse">
            <a:avLst/>
          </a:prstGeom>
          <a:solidFill>
            <a:srgbClr val="3D6A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36000" rtlCol="0" anchor="ctr" anchorCtr="1"/>
          <a:lstStyle/>
          <a:p>
            <a:r>
              <a:rPr lang="en-GB" sz="2000">
                <a:solidFill>
                  <a:schemeClr val="bg1"/>
                </a:solidFill>
                <a:latin typeface="BMWGroupTN Condensed" pitchFamily="50" charset="0"/>
              </a:rPr>
              <a:t>Chancen</a:t>
            </a:r>
            <a:endParaRPr lang="en-GB" sz="2000" dirty="0">
              <a:solidFill>
                <a:schemeClr val="bg1"/>
              </a:solidFill>
              <a:latin typeface="BMWGroupTN Condensed" pitchFamily="50" charset="0"/>
            </a:endParaRPr>
          </a:p>
        </p:txBody>
      </p:sp>
      <p:sp>
        <p:nvSpPr>
          <p:cNvPr id="14" name="Textfeld 13"/>
          <p:cNvSpPr txBox="1"/>
          <p:nvPr/>
        </p:nvSpPr>
        <p:spPr>
          <a:xfrm>
            <a:off x="990174" y="1955561"/>
            <a:ext cx="4135070" cy="2807179"/>
          </a:xfrm>
          <a:prstGeom prst="rect">
            <a:avLst/>
          </a:prstGeom>
        </p:spPr>
        <p:txBody>
          <a:bodyPr wrap="square" lIns="0" tIns="0" rIns="0" bIns="0" anchor="ctr" anchorCtr="0">
            <a:spAutoFit/>
          </a:bodyPr>
          <a:lstStyle>
            <a:defPPr>
              <a:defRPr lang="de-DE"/>
            </a:defPPr>
            <a:lvl1pPr marL="269875" indent="-269875">
              <a:lnSpc>
                <a:spcPct val="93000"/>
              </a:lnSpc>
              <a:spcAft>
                <a:spcPts val="600"/>
              </a:spcAft>
              <a:buClr>
                <a:srgbClr val="3D6A3C"/>
              </a:buClr>
              <a:buSzPct val="120000"/>
              <a:buFont typeface="Wingdings" panose="05000000000000000000" pitchFamily="2" charset="2"/>
              <a:buChar char="§"/>
              <a:defRPr/>
            </a:lvl1pPr>
          </a:lstStyle>
          <a:p>
            <a:pPr>
              <a:buClr>
                <a:srgbClr val="7F7F7F"/>
              </a:buClr>
            </a:pPr>
            <a:r>
              <a:rPr lang="en-GB"/>
              <a:t>Lorem ipsum dolor sit amet, consectetuer adipiscing elit. Maecenas porttitor congue massa.</a:t>
            </a:r>
          </a:p>
          <a:p>
            <a:pPr>
              <a:buClr>
                <a:srgbClr val="7F7F7F"/>
              </a:buClr>
            </a:pPr>
            <a:r>
              <a:rPr lang="en-GB"/>
              <a:t>Sit amet commodo magna eros quis urna.</a:t>
            </a:r>
          </a:p>
          <a:p>
            <a:pPr>
              <a:buClr>
                <a:srgbClr val="7F7F7F"/>
              </a:buClr>
            </a:pPr>
            <a:r>
              <a:rPr lang="en-GB"/>
              <a:t>Nunc viverra imperdiet enim. Fusce est. Vivamus a tellus.</a:t>
            </a:r>
          </a:p>
          <a:p>
            <a:pPr>
              <a:buClr>
                <a:srgbClr val="7F7F7F"/>
              </a:buClr>
            </a:pPr>
            <a:r>
              <a:rPr lang="en-GB"/>
              <a:t>Pellentesque habitant morbi tristique senectus et netus et malesuada fames ac turpis egestas. Proin pharetra nonummy pede. Mauris et orci.</a:t>
            </a:r>
            <a:endParaRPr lang="en-GB" dirty="0"/>
          </a:p>
        </p:txBody>
      </p:sp>
      <p:sp>
        <p:nvSpPr>
          <p:cNvPr id="20" name="Textfeld 19"/>
          <p:cNvSpPr txBox="1"/>
          <p:nvPr/>
        </p:nvSpPr>
        <p:spPr>
          <a:xfrm>
            <a:off x="7685399" y="2251668"/>
            <a:ext cx="3699343" cy="2214965"/>
          </a:xfrm>
          <a:prstGeom prst="rect">
            <a:avLst/>
          </a:prstGeom>
        </p:spPr>
        <p:txBody>
          <a:bodyPr wrap="square" lIns="0" tIns="0" rIns="0" bIns="0" anchor="ctr" anchorCtr="0">
            <a:spAutoFit/>
          </a:bodyPr>
          <a:lstStyle>
            <a:defPPr>
              <a:defRPr lang="de-DE"/>
            </a:defPPr>
            <a:lvl1pPr marL="269875" indent="-269875">
              <a:lnSpc>
                <a:spcPct val="93000"/>
              </a:lnSpc>
              <a:spcAft>
                <a:spcPts val="600"/>
              </a:spcAft>
              <a:buClr>
                <a:srgbClr val="7C0A0E"/>
              </a:buClr>
              <a:buSzPct val="120000"/>
              <a:buFont typeface="Wingdings" panose="05000000000000000000" pitchFamily="2" charset="2"/>
              <a:buChar char="§"/>
              <a:defRPr/>
            </a:lvl1pPr>
          </a:lstStyle>
          <a:p>
            <a:pPr>
              <a:buClr>
                <a:srgbClr val="7F7F7F"/>
              </a:buClr>
            </a:pPr>
            <a:r>
              <a:rPr lang="en-GB"/>
              <a:t>Fusce posuere, magna sed pulvinar ultricies, purus lectus malesuada libero, sit amet commodo magna eros quis urna.</a:t>
            </a:r>
          </a:p>
          <a:p>
            <a:pPr>
              <a:buClr>
                <a:srgbClr val="7F7F7F"/>
              </a:buClr>
            </a:pPr>
            <a:r>
              <a:rPr lang="en-GB"/>
              <a:t>Nunc viverra imperdiet enim. Fusce est. Vivamus a tellus.</a:t>
            </a:r>
          </a:p>
          <a:p>
            <a:pPr>
              <a:buClr>
                <a:srgbClr val="7F7F7F"/>
              </a:buClr>
            </a:pPr>
            <a:r>
              <a:rPr lang="en-GB"/>
              <a:t>Proin pharetra nonummy pede. Mauris et orci.</a:t>
            </a:r>
            <a:endParaRPr lang="en-GB" dirty="0"/>
          </a:p>
        </p:txBody>
      </p:sp>
    </p:spTree>
    <p:custDataLst>
      <p:tags r:id="rId1"/>
    </p:custDataLst>
    <p:extLst>
      <p:ext uri="{BB962C8B-B14F-4D97-AF65-F5344CB8AC3E}">
        <p14:creationId xmlns:p14="http://schemas.microsoft.com/office/powerpoint/2010/main" val="108247761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300A08C-ABA4-452B-BEF3-8D969A921B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6" name="Objekt 5" hidden="1">
                        <a:extLst>
                          <a:ext uri="{FF2B5EF4-FFF2-40B4-BE49-F238E27FC236}">
                            <a16:creationId xmlns:a16="http://schemas.microsoft.com/office/drawing/2014/main" id="{7300A08C-ABA4-452B-BEF3-8D969A921B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5ADF13F-75CA-414C-BDD4-B846CABBC3C4}"/>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de-DE" sz="2600" b="1" dirty="0">
              <a:solidFill>
                <a:schemeClr val="tx1"/>
              </a:solidFill>
              <a:latin typeface="BMWGroupTN Condensed" pitchFamily="50" charset="0"/>
              <a:ea typeface="+mj-ea"/>
              <a:cs typeface="+mj-cs"/>
              <a:sym typeface="BMW Group Condensed" panose="020B0606020202020204" pitchFamily="34" charset="0"/>
            </a:endParaRPr>
          </a:p>
        </p:txBody>
      </p:sp>
      <p:sp>
        <p:nvSpPr>
          <p:cNvPr id="5" name="Titel 4"/>
          <p:cNvSpPr>
            <a:spLocks noGrp="1"/>
          </p:cNvSpPr>
          <p:nvPr>
            <p:ph type="title"/>
          </p:nvPr>
        </p:nvSpPr>
        <p:spPr>
          <a:xfrm>
            <a:off x="247650" y="192777"/>
            <a:ext cx="11626850" cy="532775"/>
          </a:xfrm>
        </p:spPr>
        <p:txBody>
          <a:bodyPr vert="horz"/>
          <a:lstStyle/>
          <a:p>
            <a:pPr>
              <a:lnSpc>
                <a:spcPct val="150000"/>
              </a:lnSpc>
            </a:pPr>
            <a:r>
              <a:rPr lang="de-DE" dirty="0"/>
              <a:t>INTERNSHIP DETAILS</a:t>
            </a:r>
          </a:p>
        </p:txBody>
      </p:sp>
      <p:sp>
        <p:nvSpPr>
          <p:cNvPr id="9" name="Rectangle 8">
            <a:extLst>
              <a:ext uri="{FF2B5EF4-FFF2-40B4-BE49-F238E27FC236}">
                <a16:creationId xmlns:a16="http://schemas.microsoft.com/office/drawing/2014/main" id="{49E7F1F0-2B75-FC4A-747B-19BD0655C9ED}"/>
              </a:ext>
            </a:extLst>
          </p:cNvPr>
          <p:cNvSpPr/>
          <p:nvPr/>
        </p:nvSpPr>
        <p:spPr>
          <a:xfrm>
            <a:off x="0" y="1069487"/>
            <a:ext cx="12192000" cy="5488466"/>
          </a:xfrm>
          <a:prstGeom prst="rect">
            <a:avLst/>
          </a:prstGeom>
          <a:solidFill>
            <a:srgbClr val="DFE5EC">
              <a:alpha val="49804"/>
            </a:srgbClr>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algn="l"/>
            <a:endParaRPr lang="en-GB" dirty="0">
              <a:solidFill>
                <a:schemeClr val="tx1"/>
              </a:solidFill>
            </a:endParaRPr>
          </a:p>
        </p:txBody>
      </p:sp>
      <p:grpSp>
        <p:nvGrpSpPr>
          <p:cNvPr id="17" name="Group 16">
            <a:extLst>
              <a:ext uri="{FF2B5EF4-FFF2-40B4-BE49-F238E27FC236}">
                <a16:creationId xmlns:a16="http://schemas.microsoft.com/office/drawing/2014/main" id="{F283D88F-B0FE-5D28-C3F1-3881B6688489}"/>
              </a:ext>
            </a:extLst>
          </p:cNvPr>
          <p:cNvGrpSpPr/>
          <p:nvPr/>
        </p:nvGrpSpPr>
        <p:grpSpPr>
          <a:xfrm>
            <a:off x="8574062" y="245584"/>
            <a:ext cx="3370288" cy="532863"/>
            <a:chOff x="8351812" y="347184"/>
            <a:chExt cx="3370288" cy="532863"/>
          </a:xfrm>
        </p:grpSpPr>
        <p:pic>
          <p:nvPicPr>
            <p:cNvPr id="18" name="Graphic 17">
              <a:extLst>
                <a:ext uri="{FF2B5EF4-FFF2-40B4-BE49-F238E27FC236}">
                  <a16:creationId xmlns:a16="http://schemas.microsoft.com/office/drawing/2014/main" id="{DE929239-4A3F-2C1A-F931-47EB765EFD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48799" y="453580"/>
              <a:ext cx="2273301" cy="426087"/>
            </a:xfrm>
            <a:prstGeom prst="rect">
              <a:avLst/>
            </a:prstGeom>
          </p:spPr>
        </p:pic>
        <p:pic>
          <p:nvPicPr>
            <p:cNvPr id="19" name="Graphic 18">
              <a:extLst>
                <a:ext uri="{FF2B5EF4-FFF2-40B4-BE49-F238E27FC236}">
                  <a16:creationId xmlns:a16="http://schemas.microsoft.com/office/drawing/2014/main" id="{027B5DB1-CBF2-2042-E5FC-0FC9350777C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1812" y="347184"/>
              <a:ext cx="1021843" cy="532863"/>
            </a:xfrm>
            <a:prstGeom prst="rect">
              <a:avLst/>
            </a:prstGeom>
          </p:spPr>
        </p:pic>
      </p:grpSp>
      <p:sp>
        <p:nvSpPr>
          <p:cNvPr id="23" name="TextBox 22">
            <a:extLst>
              <a:ext uri="{FF2B5EF4-FFF2-40B4-BE49-F238E27FC236}">
                <a16:creationId xmlns:a16="http://schemas.microsoft.com/office/drawing/2014/main" id="{732AC4EE-C288-8973-ECF3-EB7B0A433267}"/>
              </a:ext>
            </a:extLst>
          </p:cNvPr>
          <p:cNvSpPr txBox="1"/>
          <p:nvPr/>
        </p:nvSpPr>
        <p:spPr>
          <a:xfrm>
            <a:off x="247650" y="1601800"/>
            <a:ext cx="7077075" cy="4423840"/>
          </a:xfrm>
          <a:prstGeom prst="rect">
            <a:avLst/>
          </a:prstGeom>
        </p:spPr>
        <p:txBody>
          <a:bodyPr vert="horz" wrap="square" lIns="0" tIns="0" rIns="0" bIns="0" rtlCol="0">
            <a:spAutoFit/>
          </a:bodyPr>
          <a:lstStyle/>
          <a:p>
            <a:pPr marL="190800" indent="-190800" algn="l" defTabSz="914400" rtl="0" eaLnBrk="1" latinLnBrk="0" hangingPunct="1">
              <a:lnSpc>
                <a:spcPct val="250000"/>
              </a:lnSpc>
              <a:spcBef>
                <a:spcPts val="0"/>
              </a:spcBef>
              <a:spcAft>
                <a:spcPts val="600"/>
              </a:spcAft>
              <a:buClr>
                <a:schemeClr val="tx2"/>
              </a:buClr>
              <a:buFont typeface="Wingdings" panose="05000000000000000000" pitchFamily="2" charset="2"/>
              <a:buChar char="§"/>
            </a:pPr>
            <a:r>
              <a:rPr lang="en-GB" b="1" dirty="0"/>
              <a:t>Organization :</a:t>
            </a:r>
            <a:r>
              <a:rPr lang="en-GB" dirty="0"/>
              <a:t> BMWGROUP Ind Pvt Ltd .</a:t>
            </a:r>
          </a:p>
          <a:p>
            <a:pPr marL="190800" indent="-190800" algn="l" defTabSz="914400" rtl="0" eaLnBrk="1" latinLnBrk="0" hangingPunct="1">
              <a:lnSpc>
                <a:spcPct val="250000"/>
              </a:lnSpc>
              <a:spcBef>
                <a:spcPts val="0"/>
              </a:spcBef>
              <a:spcAft>
                <a:spcPts val="600"/>
              </a:spcAft>
              <a:buClr>
                <a:schemeClr val="tx2"/>
              </a:buClr>
              <a:buFont typeface="Wingdings" panose="05000000000000000000" pitchFamily="2" charset="2"/>
              <a:buChar char="§"/>
            </a:pPr>
            <a:r>
              <a:rPr lang="en-GB" sz="1800" b="1" kern="1200" dirty="0">
                <a:solidFill>
                  <a:schemeClr val="tx1"/>
                </a:solidFill>
                <a:latin typeface="+mn-lt"/>
                <a:ea typeface="+mn-ea"/>
                <a:cs typeface="+mn-cs"/>
              </a:rPr>
              <a:t>Department : </a:t>
            </a:r>
            <a:r>
              <a:rPr lang="en-GB" sz="1800" kern="1200" dirty="0">
                <a:solidFill>
                  <a:schemeClr val="tx1"/>
                </a:solidFill>
                <a:latin typeface="+mn-lt"/>
                <a:ea typeface="+mn-ea"/>
                <a:cs typeface="+mn-cs"/>
              </a:rPr>
              <a:t>Functional Analysis.</a:t>
            </a:r>
          </a:p>
          <a:p>
            <a:pPr marL="190800" indent="-190800" algn="l" defTabSz="914400" rtl="0" eaLnBrk="1" latinLnBrk="0" hangingPunct="1">
              <a:lnSpc>
                <a:spcPct val="250000"/>
              </a:lnSpc>
              <a:spcBef>
                <a:spcPts val="0"/>
              </a:spcBef>
              <a:spcAft>
                <a:spcPts val="600"/>
              </a:spcAft>
              <a:buClr>
                <a:schemeClr val="tx2"/>
              </a:buClr>
              <a:buFont typeface="Wingdings" panose="05000000000000000000" pitchFamily="2" charset="2"/>
              <a:buChar char="§"/>
            </a:pPr>
            <a:r>
              <a:rPr lang="en-GB" b="1" dirty="0"/>
              <a:t>Role :</a:t>
            </a:r>
            <a:r>
              <a:rPr lang="en-GB" dirty="0"/>
              <a:t> Data Analyst.</a:t>
            </a:r>
          </a:p>
          <a:p>
            <a:pPr marL="190800" indent="-190800" algn="l" defTabSz="914400" rtl="0" eaLnBrk="1" latinLnBrk="0" hangingPunct="1">
              <a:lnSpc>
                <a:spcPct val="250000"/>
              </a:lnSpc>
              <a:spcBef>
                <a:spcPts val="0"/>
              </a:spcBef>
              <a:spcAft>
                <a:spcPts val="600"/>
              </a:spcAft>
              <a:buClr>
                <a:schemeClr val="tx2"/>
              </a:buClr>
              <a:buFont typeface="Wingdings" panose="05000000000000000000" pitchFamily="2" charset="2"/>
              <a:buChar char="§"/>
            </a:pPr>
            <a:r>
              <a:rPr lang="en-GB" b="1" dirty="0"/>
              <a:t>Reporting to : </a:t>
            </a:r>
            <a:r>
              <a:rPr lang="en-GB" dirty="0"/>
              <a:t>Mr .</a:t>
            </a:r>
            <a:r>
              <a:rPr lang="en-GB" dirty="0" err="1"/>
              <a:t>Sulaiman</a:t>
            </a:r>
            <a:r>
              <a:rPr lang="en-GB" dirty="0"/>
              <a:t> Ali M , Functional Analysis Manager.</a:t>
            </a:r>
          </a:p>
          <a:p>
            <a:pPr marL="190800" indent="-190800" algn="l" defTabSz="914400" rtl="0" eaLnBrk="1" latinLnBrk="0" hangingPunct="1">
              <a:lnSpc>
                <a:spcPct val="250000"/>
              </a:lnSpc>
              <a:spcBef>
                <a:spcPts val="0"/>
              </a:spcBef>
              <a:spcAft>
                <a:spcPts val="600"/>
              </a:spcAft>
              <a:buClr>
                <a:schemeClr val="tx2"/>
              </a:buClr>
              <a:buFont typeface="Wingdings" panose="05000000000000000000" pitchFamily="2" charset="2"/>
              <a:buChar char="§"/>
            </a:pPr>
            <a:r>
              <a:rPr lang="en-GB" sz="1800" b="1" kern="1200" dirty="0">
                <a:solidFill>
                  <a:schemeClr val="tx1"/>
                </a:solidFill>
                <a:latin typeface="+mn-lt"/>
                <a:ea typeface="+mn-ea"/>
                <a:cs typeface="+mn-cs"/>
              </a:rPr>
              <a:t>Internship Per</a:t>
            </a:r>
            <a:r>
              <a:rPr lang="en-GB" b="1" dirty="0"/>
              <a:t>iod : </a:t>
            </a:r>
            <a:r>
              <a:rPr lang="en-GB" dirty="0"/>
              <a:t>June 9 to October 30.</a:t>
            </a:r>
          </a:p>
          <a:p>
            <a:pPr marL="190800" indent="-190800" algn="l" defTabSz="914400" rtl="0" eaLnBrk="1" latinLnBrk="0" hangingPunct="1">
              <a:lnSpc>
                <a:spcPct val="250000"/>
              </a:lnSpc>
              <a:spcBef>
                <a:spcPts val="0"/>
              </a:spcBef>
              <a:spcAft>
                <a:spcPts val="600"/>
              </a:spcAft>
              <a:buClr>
                <a:schemeClr val="tx2"/>
              </a:buClr>
              <a:buFont typeface="Wingdings" panose="05000000000000000000" pitchFamily="2" charset="2"/>
              <a:buChar char="§"/>
            </a:pPr>
            <a:r>
              <a:rPr lang="en-GB" b="1" dirty="0"/>
              <a:t>Company Location : </a:t>
            </a:r>
            <a:r>
              <a:rPr lang="en-GB" dirty="0"/>
              <a:t>Mahindra World City ,Chennai.</a:t>
            </a:r>
          </a:p>
        </p:txBody>
      </p:sp>
      <p:pic>
        <p:nvPicPr>
          <p:cNvPr id="24" name="Grafik 18">
            <a:extLst>
              <a:ext uri="{FF2B5EF4-FFF2-40B4-BE49-F238E27FC236}">
                <a16:creationId xmlns:a16="http://schemas.microsoft.com/office/drawing/2014/main" id="{DA7F33EC-229C-6CCF-6253-28B895B1DBAD}"/>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6434395" y="1873247"/>
            <a:ext cx="5301175" cy="3111503"/>
          </a:xfrm>
          <a:prstGeom prst="rect">
            <a:avLst/>
          </a:prstGeom>
        </p:spPr>
      </p:pic>
    </p:spTree>
    <p:custDataLst>
      <p:tags r:id="rId1"/>
    </p:custDataLst>
    <p:extLst>
      <p:ext uri="{BB962C8B-B14F-4D97-AF65-F5344CB8AC3E}">
        <p14:creationId xmlns:p14="http://schemas.microsoft.com/office/powerpoint/2010/main" val="773828861"/>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14" name="Objek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1ABBA4D-DC61-4D63-AA8D-9CCEE7B26CBF}"/>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2" name="Titel 1"/>
          <p:cNvSpPr>
            <a:spLocks noGrp="1"/>
          </p:cNvSpPr>
          <p:nvPr>
            <p:ph type="title"/>
          </p:nvPr>
        </p:nvSpPr>
        <p:spPr>
          <a:xfrm>
            <a:off x="488947" y="347184"/>
            <a:ext cx="11224684" cy="372090"/>
          </a:xfrm>
        </p:spPr>
        <p:txBody>
          <a:bodyPr/>
          <a:lstStyle/>
          <a:p>
            <a:r>
              <a:rPr lang="en-GB" dirty="0"/>
              <a:t>3 Donuts with pictures and Text.</a:t>
            </a:r>
            <a:br>
              <a:rPr lang="en-GB" dirty="0"/>
            </a:br>
            <a:endParaRPr lang="en-GB" dirty="0"/>
          </a:p>
        </p:txBody>
      </p:sp>
      <p:sp>
        <p:nvSpPr>
          <p:cNvPr id="5" name="Textfeld 4"/>
          <p:cNvSpPr txBox="1"/>
          <p:nvPr/>
        </p:nvSpPr>
        <p:spPr>
          <a:xfrm>
            <a:off x="4292600" y="4349235"/>
            <a:ext cx="3594100" cy="1773753"/>
          </a:xfrm>
          <a:prstGeom prst="rect">
            <a:avLst/>
          </a:prstGeom>
          <a:noFill/>
        </p:spPr>
        <p:txBody>
          <a:bodyPr vert="horz" wrap="square" lIns="0" tIns="0" rIns="0" bIns="0" rtlCol="0">
            <a:noAutofit/>
          </a:bodyPr>
          <a:lstStyle/>
          <a:p>
            <a:pPr algn="l" rtl="0" eaLnBrk="1" fontAlgn="auto" hangingPunct="1">
              <a:lnSpc>
                <a:spcPct val="93000"/>
              </a:lnSpc>
              <a:spcAft>
                <a:spcPts val="600"/>
              </a:spcAft>
            </a:pPr>
            <a:r>
              <a:rPr lang="en-GB" sz="2800" i="0" u="none" baseline="0" dirty="0">
                <a:solidFill>
                  <a:schemeClr val="tx2"/>
                </a:solidFill>
              </a:rPr>
              <a:t>57% </a:t>
            </a:r>
            <a:r>
              <a:rPr lang="en-GB" sz="2000" i="0" u="none" baseline="0" dirty="0">
                <a:solidFill>
                  <a:srgbClr val="000000"/>
                </a:solidFill>
              </a:rPr>
              <a:t>Ipsum </a:t>
            </a:r>
            <a:r>
              <a:rPr lang="en-GB" sz="2000" i="0" u="none" baseline="0" dirty="0" err="1">
                <a:solidFill>
                  <a:srgbClr val="000000"/>
                </a:solidFill>
              </a:rPr>
              <a:t>dolor</a:t>
            </a:r>
            <a:r>
              <a:rPr lang="en-GB" sz="2000" i="0" u="none" baseline="0" dirty="0">
                <a:solidFill>
                  <a:srgbClr val="000000"/>
                </a:solidFill>
              </a:rPr>
              <a:t> </a:t>
            </a:r>
            <a:r>
              <a:rPr lang="en-GB" sz="2000" i="0" u="none" baseline="0" dirty="0" err="1">
                <a:solidFill>
                  <a:srgbClr val="000000"/>
                </a:solidFill>
              </a:rPr>
              <a:t>sitamet</a:t>
            </a:r>
            <a:endParaRPr lang="en-GB" sz="2000" i="0" u="none" baseline="0" dirty="0">
              <a:solidFill>
                <a:srgbClr val="000000"/>
              </a:solidFill>
            </a:endParaRPr>
          </a:p>
          <a:p>
            <a:pPr algn="l" rtl="0" eaLnBrk="1" fontAlgn="auto" hangingPunct="1">
              <a:lnSpc>
                <a:spcPct val="93000"/>
              </a:lnSpc>
              <a:spcAft>
                <a:spcPts val="600"/>
              </a:spcAft>
            </a:pPr>
            <a:r>
              <a:rPr lang="en-GB" sz="1800" i="0" u="none" baseline="0" dirty="0" err="1">
                <a:solidFill>
                  <a:srgbClr val="000000"/>
                </a:solidFill>
              </a:rPr>
              <a:t>adipiscing</a:t>
            </a:r>
            <a:r>
              <a:rPr lang="en-GB" sz="1800" i="0" u="none" baseline="0" dirty="0">
                <a:solidFill>
                  <a:srgbClr val="000000"/>
                </a:solidFill>
              </a:rPr>
              <a:t> </a:t>
            </a:r>
            <a:r>
              <a:rPr lang="en-GB" sz="1800" i="0" u="none" baseline="0" dirty="0" err="1">
                <a:solidFill>
                  <a:srgbClr val="000000"/>
                </a:solidFill>
              </a:rPr>
              <a:t>elit</a:t>
            </a:r>
            <a:r>
              <a:rPr lang="en-GB" sz="1800" i="0" u="none" baseline="0" dirty="0">
                <a:solidFill>
                  <a:srgbClr val="000000"/>
                </a:solidFill>
              </a:rPr>
              <a:t>. Maecenas </a:t>
            </a:r>
            <a:r>
              <a:rPr lang="en-GB" sz="1800" i="0" u="none" baseline="0" dirty="0" err="1">
                <a:solidFill>
                  <a:srgbClr val="000000"/>
                </a:solidFill>
              </a:rPr>
              <a:t>porttitor</a:t>
            </a:r>
            <a:r>
              <a:rPr lang="en-GB" sz="1800" i="0" u="none" baseline="0" dirty="0">
                <a:solidFill>
                  <a:srgbClr val="000000"/>
                </a:solidFill>
              </a:rPr>
              <a:t> </a:t>
            </a:r>
            <a:r>
              <a:rPr lang="en-GB" sz="1800" i="0" u="none" baseline="0" dirty="0" err="1">
                <a:solidFill>
                  <a:srgbClr val="000000"/>
                </a:solidFill>
              </a:rPr>
              <a:t>congue</a:t>
            </a:r>
            <a:r>
              <a:rPr lang="en-GB" sz="1800" i="0" u="none" baseline="0" dirty="0">
                <a:solidFill>
                  <a:srgbClr val="000000"/>
                </a:solidFill>
              </a:rPr>
              <a:t> </a:t>
            </a:r>
            <a:r>
              <a:rPr lang="en-GB" sz="1800" i="0" u="none" baseline="0" dirty="0" err="1">
                <a:solidFill>
                  <a:srgbClr val="000000"/>
                </a:solidFill>
              </a:rPr>
              <a:t>massa</a:t>
            </a:r>
            <a:r>
              <a:rPr lang="en-GB" sz="1800" i="0" u="none" baseline="0" dirty="0">
                <a:solidFill>
                  <a:srgbClr val="000000"/>
                </a:solidFill>
              </a:rPr>
              <a:t>. </a:t>
            </a:r>
            <a:r>
              <a:rPr lang="en-GB" sz="1800" i="0" u="none" baseline="0" dirty="0" err="1">
                <a:solidFill>
                  <a:srgbClr val="000000"/>
                </a:solidFill>
              </a:rPr>
              <a:t>Fusce</a:t>
            </a:r>
            <a:r>
              <a:rPr lang="en-GB" sz="1800" i="0" u="none" baseline="0" dirty="0">
                <a:solidFill>
                  <a:srgbClr val="000000"/>
                </a:solidFill>
              </a:rPr>
              <a:t> </a:t>
            </a:r>
            <a:r>
              <a:rPr lang="en-GB" sz="1800" i="0" u="none" baseline="0" dirty="0" err="1">
                <a:solidFill>
                  <a:srgbClr val="000000"/>
                </a:solidFill>
              </a:rPr>
              <a:t>posuere</a:t>
            </a:r>
            <a:r>
              <a:rPr lang="en-GB" sz="1800" i="0" u="none" baseline="0" dirty="0">
                <a:solidFill>
                  <a:srgbClr val="000000"/>
                </a:solidFill>
              </a:rPr>
              <a:t>, magna </a:t>
            </a:r>
            <a:r>
              <a:rPr lang="en-GB" sz="1800" i="0" u="none" baseline="0" dirty="0" err="1">
                <a:solidFill>
                  <a:srgbClr val="000000"/>
                </a:solidFill>
              </a:rPr>
              <a:t>sed</a:t>
            </a:r>
            <a:r>
              <a:rPr lang="en-GB" sz="1800" i="0" u="none" baseline="0" dirty="0">
                <a:solidFill>
                  <a:srgbClr val="000000"/>
                </a:solidFill>
              </a:rPr>
              <a:t> </a:t>
            </a:r>
            <a:r>
              <a:rPr lang="en-GB" sz="1800" i="0" u="none" baseline="0" dirty="0" err="1">
                <a:solidFill>
                  <a:srgbClr val="000000"/>
                </a:solidFill>
              </a:rPr>
              <a:t>pulvinarultricies</a:t>
            </a:r>
            <a:r>
              <a:rPr lang="en-GB" sz="1800" i="0" u="none" baseline="0" dirty="0">
                <a:solidFill>
                  <a:srgbClr val="000000"/>
                </a:solidFill>
              </a:rPr>
              <a:t>.</a:t>
            </a:r>
          </a:p>
        </p:txBody>
      </p:sp>
      <p:sp>
        <p:nvSpPr>
          <p:cNvPr id="6" name="Textfeld 5"/>
          <p:cNvSpPr txBox="1"/>
          <p:nvPr/>
        </p:nvSpPr>
        <p:spPr>
          <a:xfrm>
            <a:off x="8128000" y="4349236"/>
            <a:ext cx="3594100" cy="1773752"/>
          </a:xfrm>
          <a:prstGeom prst="rect">
            <a:avLst/>
          </a:prstGeom>
          <a:noFill/>
        </p:spPr>
        <p:txBody>
          <a:bodyPr vert="horz" wrap="square" lIns="0" tIns="0" rIns="0" bIns="0" rtlCol="0">
            <a:noAutofit/>
          </a:bodyPr>
          <a:lstStyle/>
          <a:p>
            <a:pPr algn="l" rtl="0" eaLnBrk="1" fontAlgn="auto" hangingPunct="1">
              <a:lnSpc>
                <a:spcPct val="93000"/>
              </a:lnSpc>
              <a:spcAft>
                <a:spcPts val="600"/>
              </a:spcAft>
            </a:pPr>
            <a:r>
              <a:rPr lang="en-GB" sz="2800" dirty="0">
                <a:solidFill>
                  <a:schemeClr val="tx2"/>
                </a:solidFill>
              </a:rPr>
              <a:t>68</a:t>
            </a:r>
            <a:r>
              <a:rPr lang="en-GB" sz="2800" i="0" u="none" baseline="0" dirty="0">
                <a:solidFill>
                  <a:schemeClr val="tx2"/>
                </a:solidFill>
              </a:rPr>
              <a:t>% </a:t>
            </a:r>
            <a:r>
              <a:rPr lang="en-GB" sz="2000" i="0" u="none" baseline="0" dirty="0" err="1">
                <a:solidFill>
                  <a:srgbClr val="000000"/>
                </a:solidFill>
              </a:rPr>
              <a:t>Nuncviverra</a:t>
            </a:r>
            <a:endParaRPr lang="en-GB" sz="2000" i="0" u="none" baseline="0" dirty="0">
              <a:solidFill>
                <a:srgbClr val="000000"/>
              </a:solidFill>
            </a:endParaRPr>
          </a:p>
          <a:p>
            <a:pPr algn="l" rtl="0" eaLnBrk="1" fontAlgn="auto" hangingPunct="1">
              <a:lnSpc>
                <a:spcPct val="93000"/>
              </a:lnSpc>
              <a:spcAft>
                <a:spcPts val="600"/>
              </a:spcAft>
            </a:pPr>
            <a:r>
              <a:rPr lang="en-GB" sz="1800" i="0" u="none" baseline="0" dirty="0">
                <a:solidFill>
                  <a:srgbClr val="000000"/>
                </a:solidFill>
              </a:rPr>
              <a:t>est. </a:t>
            </a:r>
            <a:r>
              <a:rPr lang="en-GB" sz="1800" i="0" u="none" baseline="0" dirty="0" err="1">
                <a:solidFill>
                  <a:srgbClr val="000000"/>
                </a:solidFill>
              </a:rPr>
              <a:t>Vivamus</a:t>
            </a:r>
            <a:r>
              <a:rPr lang="en-GB" sz="1800" i="0" u="none" baseline="0" dirty="0">
                <a:solidFill>
                  <a:srgbClr val="000000"/>
                </a:solidFill>
              </a:rPr>
              <a:t> a </a:t>
            </a:r>
            <a:r>
              <a:rPr lang="en-GB" sz="1800" i="0" u="none" baseline="0" dirty="0" err="1">
                <a:solidFill>
                  <a:srgbClr val="000000"/>
                </a:solidFill>
              </a:rPr>
              <a:t>tellus</a:t>
            </a:r>
            <a:r>
              <a:rPr lang="en-GB" sz="1800" i="0" u="none" baseline="0" dirty="0">
                <a:solidFill>
                  <a:srgbClr val="000000"/>
                </a:solidFill>
              </a:rPr>
              <a:t>.</a:t>
            </a:r>
          </a:p>
          <a:p>
            <a:pPr algn="l" rtl="0" eaLnBrk="1" fontAlgn="auto" hangingPunct="1">
              <a:lnSpc>
                <a:spcPct val="93000"/>
              </a:lnSpc>
              <a:spcAft>
                <a:spcPts val="600"/>
              </a:spcAft>
            </a:pPr>
            <a:r>
              <a:rPr lang="en-GB" sz="1800" i="0" u="none" baseline="0" dirty="0" err="1">
                <a:solidFill>
                  <a:srgbClr val="000000"/>
                </a:solidFill>
              </a:rPr>
              <a:t>Pellentesque</a:t>
            </a:r>
            <a:r>
              <a:rPr lang="en-GB" sz="1800" i="0" u="none" baseline="0" dirty="0">
                <a:solidFill>
                  <a:srgbClr val="000000"/>
                </a:solidFill>
              </a:rPr>
              <a:t> habitant </a:t>
            </a:r>
            <a:r>
              <a:rPr lang="en-GB" sz="1800" i="0" u="none" baseline="0" dirty="0" err="1">
                <a:solidFill>
                  <a:srgbClr val="000000"/>
                </a:solidFill>
              </a:rPr>
              <a:t>morbi</a:t>
            </a:r>
            <a:r>
              <a:rPr lang="en-GB" sz="1800" i="0" u="none" baseline="0" dirty="0">
                <a:solidFill>
                  <a:srgbClr val="000000"/>
                </a:solidFill>
              </a:rPr>
              <a:t> </a:t>
            </a:r>
            <a:r>
              <a:rPr lang="en-GB" sz="1800" i="0" u="none" baseline="0" dirty="0" err="1">
                <a:solidFill>
                  <a:srgbClr val="000000"/>
                </a:solidFill>
              </a:rPr>
              <a:t>tristique</a:t>
            </a:r>
            <a:r>
              <a:rPr lang="en-GB" sz="1800" i="0" u="none" baseline="0" dirty="0">
                <a:solidFill>
                  <a:srgbClr val="000000"/>
                </a:solidFill>
              </a:rPr>
              <a:t> </a:t>
            </a:r>
            <a:r>
              <a:rPr lang="en-GB" sz="1800" i="0" u="none" baseline="0" dirty="0" err="1">
                <a:solidFill>
                  <a:srgbClr val="000000"/>
                </a:solidFill>
              </a:rPr>
              <a:t>senectus</a:t>
            </a:r>
            <a:r>
              <a:rPr lang="en-GB" sz="1800" i="0" u="none" baseline="0" dirty="0">
                <a:solidFill>
                  <a:srgbClr val="000000"/>
                </a:solidFill>
              </a:rPr>
              <a:t> et </a:t>
            </a:r>
            <a:r>
              <a:rPr lang="en-GB" sz="1800" i="0" u="none" baseline="0" dirty="0" err="1">
                <a:solidFill>
                  <a:srgbClr val="000000"/>
                </a:solidFill>
              </a:rPr>
              <a:t>netus</a:t>
            </a:r>
            <a:r>
              <a:rPr lang="en-GB" sz="1800" i="0" u="none" baseline="0" dirty="0">
                <a:solidFill>
                  <a:srgbClr val="000000"/>
                </a:solidFill>
              </a:rPr>
              <a:t> et </a:t>
            </a:r>
            <a:r>
              <a:rPr lang="en-GB" sz="1800" i="0" u="none" baseline="0" dirty="0" err="1">
                <a:solidFill>
                  <a:srgbClr val="000000"/>
                </a:solidFill>
              </a:rPr>
              <a:t>malesuada</a:t>
            </a:r>
            <a:r>
              <a:rPr lang="en-GB" sz="1800" i="0" u="none" baseline="0" dirty="0">
                <a:solidFill>
                  <a:srgbClr val="000000"/>
                </a:solidFill>
              </a:rPr>
              <a:t> fames ac </a:t>
            </a:r>
            <a:r>
              <a:rPr lang="en-GB" sz="1800" i="0" u="none" baseline="0" dirty="0" err="1">
                <a:solidFill>
                  <a:srgbClr val="000000"/>
                </a:solidFill>
              </a:rPr>
              <a:t>turpis</a:t>
            </a:r>
            <a:r>
              <a:rPr lang="en-GB" sz="1800" i="0" u="none" baseline="0" dirty="0">
                <a:solidFill>
                  <a:srgbClr val="000000"/>
                </a:solidFill>
              </a:rPr>
              <a:t> </a:t>
            </a:r>
            <a:r>
              <a:rPr lang="en-GB" sz="1800" i="0" u="none" baseline="0" dirty="0" err="1">
                <a:solidFill>
                  <a:srgbClr val="000000"/>
                </a:solidFill>
              </a:rPr>
              <a:t>egestas</a:t>
            </a:r>
            <a:r>
              <a:rPr lang="en-GB" sz="1800" i="0" u="none" baseline="0" dirty="0">
                <a:solidFill>
                  <a:srgbClr val="000000"/>
                </a:solidFill>
              </a:rPr>
              <a:t>. </a:t>
            </a:r>
          </a:p>
        </p:txBody>
      </p:sp>
      <p:sp>
        <p:nvSpPr>
          <p:cNvPr id="15" name="Textfeld 14"/>
          <p:cNvSpPr txBox="1"/>
          <p:nvPr/>
        </p:nvSpPr>
        <p:spPr>
          <a:xfrm>
            <a:off x="477838" y="4349236"/>
            <a:ext cx="3600450" cy="1773752"/>
          </a:xfrm>
          <a:prstGeom prst="rect">
            <a:avLst/>
          </a:prstGeom>
          <a:noFill/>
        </p:spPr>
        <p:txBody>
          <a:bodyPr vert="horz" wrap="square" lIns="0" tIns="0" rIns="0" bIns="0" rtlCol="0">
            <a:noAutofit/>
          </a:bodyPr>
          <a:lstStyle/>
          <a:p>
            <a:pPr>
              <a:lnSpc>
                <a:spcPct val="93000"/>
              </a:lnSpc>
              <a:spcAft>
                <a:spcPts val="600"/>
              </a:spcAft>
            </a:pPr>
            <a:r>
              <a:rPr lang="en-GB" sz="2800" dirty="0">
                <a:solidFill>
                  <a:schemeClr val="tx2"/>
                </a:solidFill>
              </a:rPr>
              <a:t>24% </a:t>
            </a:r>
            <a:r>
              <a:rPr lang="en-GB" sz="2000" dirty="0" err="1">
                <a:solidFill>
                  <a:srgbClr val="000000"/>
                </a:solidFill>
              </a:rPr>
              <a:t>Loremipsumdolor</a:t>
            </a:r>
            <a:endParaRPr lang="en-GB" sz="2000" dirty="0">
              <a:solidFill>
                <a:srgbClr val="000000"/>
              </a:solidFill>
            </a:endParaRPr>
          </a:p>
          <a:p>
            <a:pPr>
              <a:lnSpc>
                <a:spcPct val="93000"/>
              </a:lnSpc>
              <a:spcAft>
                <a:spcPts val="600"/>
              </a:spcAft>
            </a:pPr>
            <a:r>
              <a:rPr lang="en-GB" dirty="0" err="1">
                <a:solidFill>
                  <a:srgbClr val="000000"/>
                </a:solidFill>
              </a:rPr>
              <a:t>sitamet</a:t>
            </a:r>
            <a:r>
              <a:rPr lang="en-GB" dirty="0">
                <a:solidFill>
                  <a:srgbClr val="000000"/>
                </a:solidFill>
              </a:rPr>
              <a:t>, </a:t>
            </a:r>
            <a:r>
              <a:rPr lang="en-GB" dirty="0" err="1">
                <a:solidFill>
                  <a:srgbClr val="000000"/>
                </a:solidFill>
              </a:rPr>
              <a:t>consectetueradipiscingelit</a:t>
            </a:r>
            <a:r>
              <a:rPr lang="en-GB" dirty="0">
                <a:solidFill>
                  <a:srgbClr val="000000"/>
                </a:solidFill>
              </a:rPr>
              <a:t>. Maecenas </a:t>
            </a:r>
            <a:r>
              <a:rPr lang="en-GB" dirty="0" err="1">
                <a:solidFill>
                  <a:srgbClr val="000000"/>
                </a:solidFill>
              </a:rPr>
              <a:t>porttitorconguemassa</a:t>
            </a:r>
            <a:r>
              <a:rPr lang="en-GB" dirty="0">
                <a:solidFill>
                  <a:srgbClr val="000000"/>
                </a:solidFill>
              </a:rPr>
              <a:t>. </a:t>
            </a:r>
            <a:r>
              <a:rPr lang="en-GB" dirty="0" err="1">
                <a:solidFill>
                  <a:srgbClr val="000000"/>
                </a:solidFill>
              </a:rPr>
              <a:t>Fusceposuere</a:t>
            </a:r>
            <a:r>
              <a:rPr lang="en-GB" dirty="0">
                <a:solidFill>
                  <a:srgbClr val="000000"/>
                </a:solidFill>
              </a:rPr>
              <a:t>, magna </a:t>
            </a:r>
            <a:r>
              <a:rPr lang="en-GB" dirty="0" err="1">
                <a:solidFill>
                  <a:srgbClr val="000000"/>
                </a:solidFill>
              </a:rPr>
              <a:t>sedpulvinarultricies</a:t>
            </a:r>
            <a:r>
              <a:rPr lang="en-GB" dirty="0">
                <a:solidFill>
                  <a:srgbClr val="000000"/>
                </a:solidFill>
              </a:rPr>
              <a:t>, </a:t>
            </a:r>
            <a:r>
              <a:rPr lang="en-GB" dirty="0" err="1">
                <a:solidFill>
                  <a:srgbClr val="000000"/>
                </a:solidFill>
              </a:rPr>
              <a:t>puruslectus</a:t>
            </a:r>
            <a:endParaRPr lang="en-GB" dirty="0">
              <a:solidFill>
                <a:srgbClr val="000000"/>
              </a:solidFill>
            </a:endParaRPr>
          </a:p>
        </p:txBody>
      </p:sp>
      <p:pic>
        <p:nvPicPr>
          <p:cNvPr id="24" name="Grafik 23"/>
          <p:cNvPicPr>
            <a:picLocks noChangeAspect="1"/>
          </p:cNvPicPr>
          <p:nvPr/>
        </p:nvPicPr>
        <p:blipFill>
          <a:blip r:embed="rId8" cstate="print">
            <a:extLst>
              <a:ext uri="{28A0092B-C50C-407E-A947-70E740481C1C}">
                <a14:useLocalDpi xmlns:a14="http://schemas.microsoft.com/office/drawing/2010/main" val="0"/>
              </a:ext>
            </a:extLst>
          </a:blip>
          <a:srcRect l="11645" t="10921" r="21695"/>
          <a:stretch>
            <a:fillRect/>
          </a:stretch>
        </p:blipFill>
        <p:spPr>
          <a:xfrm>
            <a:off x="5262983" y="1928856"/>
            <a:ext cx="1625718" cy="1625718"/>
          </a:xfrm>
          <a:custGeom>
            <a:avLst/>
            <a:gdLst>
              <a:gd name="connsiteX0" fmla="*/ 812859 w 1625718"/>
              <a:gd name="connsiteY0" fmla="*/ 0 h 1625718"/>
              <a:gd name="connsiteX1" fmla="*/ 1625718 w 1625718"/>
              <a:gd name="connsiteY1" fmla="*/ 812859 h 1625718"/>
              <a:gd name="connsiteX2" fmla="*/ 812859 w 1625718"/>
              <a:gd name="connsiteY2" fmla="*/ 1625718 h 1625718"/>
              <a:gd name="connsiteX3" fmla="*/ 0 w 1625718"/>
              <a:gd name="connsiteY3" fmla="*/ 812859 h 1625718"/>
              <a:gd name="connsiteX4" fmla="*/ 812859 w 1625718"/>
              <a:gd name="connsiteY4" fmla="*/ 0 h 1625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718" h="1625718">
                <a:moveTo>
                  <a:pt x="812859" y="0"/>
                </a:moveTo>
                <a:cubicBezTo>
                  <a:pt x="1261789" y="0"/>
                  <a:pt x="1625718" y="363929"/>
                  <a:pt x="1625718" y="812859"/>
                </a:cubicBezTo>
                <a:cubicBezTo>
                  <a:pt x="1625718" y="1261789"/>
                  <a:pt x="1261789" y="1625718"/>
                  <a:pt x="812859" y="1625718"/>
                </a:cubicBezTo>
                <a:cubicBezTo>
                  <a:pt x="363929" y="1625718"/>
                  <a:pt x="0" y="1261789"/>
                  <a:pt x="0" y="812859"/>
                </a:cubicBezTo>
                <a:cubicBezTo>
                  <a:pt x="0" y="363929"/>
                  <a:pt x="363929" y="0"/>
                  <a:pt x="812859" y="0"/>
                </a:cubicBezTo>
                <a:close/>
              </a:path>
            </a:pathLst>
          </a:custGeom>
        </p:spPr>
      </p:pic>
      <p:pic>
        <p:nvPicPr>
          <p:cNvPr id="25" name="Grafik 24"/>
          <p:cNvPicPr>
            <a:picLocks noChangeAspect="1"/>
          </p:cNvPicPr>
          <p:nvPr/>
        </p:nvPicPr>
        <p:blipFill rotWithShape="1">
          <a:blip r:embed="rId9" cstate="print">
            <a:extLst>
              <a:ext uri="{28A0092B-C50C-407E-A947-70E740481C1C}">
                <a14:useLocalDpi xmlns:a14="http://schemas.microsoft.com/office/drawing/2010/main" val="0"/>
              </a:ext>
            </a:extLst>
          </a:blip>
          <a:srcRect l="11296" t="5274" r="22043" b="5647"/>
          <a:stretch/>
        </p:blipFill>
        <p:spPr>
          <a:xfrm>
            <a:off x="9098383" y="1928856"/>
            <a:ext cx="1625718" cy="1625718"/>
          </a:xfrm>
          <a:custGeom>
            <a:avLst/>
            <a:gdLst>
              <a:gd name="connsiteX0" fmla="*/ 812859 w 1625718"/>
              <a:gd name="connsiteY0" fmla="*/ 0 h 1625718"/>
              <a:gd name="connsiteX1" fmla="*/ 1625718 w 1625718"/>
              <a:gd name="connsiteY1" fmla="*/ 812859 h 1625718"/>
              <a:gd name="connsiteX2" fmla="*/ 812859 w 1625718"/>
              <a:gd name="connsiteY2" fmla="*/ 1625718 h 1625718"/>
              <a:gd name="connsiteX3" fmla="*/ 0 w 1625718"/>
              <a:gd name="connsiteY3" fmla="*/ 812859 h 1625718"/>
              <a:gd name="connsiteX4" fmla="*/ 812859 w 1625718"/>
              <a:gd name="connsiteY4" fmla="*/ 0 h 1625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718" h="1625718">
                <a:moveTo>
                  <a:pt x="812859" y="0"/>
                </a:moveTo>
                <a:cubicBezTo>
                  <a:pt x="1261789" y="0"/>
                  <a:pt x="1625718" y="363929"/>
                  <a:pt x="1625718" y="812859"/>
                </a:cubicBezTo>
                <a:cubicBezTo>
                  <a:pt x="1625718" y="1261789"/>
                  <a:pt x="1261789" y="1625718"/>
                  <a:pt x="812859" y="1625718"/>
                </a:cubicBezTo>
                <a:cubicBezTo>
                  <a:pt x="363929" y="1625718"/>
                  <a:pt x="0" y="1261789"/>
                  <a:pt x="0" y="812859"/>
                </a:cubicBezTo>
                <a:cubicBezTo>
                  <a:pt x="0" y="363929"/>
                  <a:pt x="363929" y="0"/>
                  <a:pt x="812859" y="0"/>
                </a:cubicBezTo>
                <a:close/>
              </a:path>
            </a:pathLst>
          </a:custGeom>
        </p:spPr>
      </p:pic>
      <p:pic>
        <p:nvPicPr>
          <p:cNvPr id="23" name="Grafik 22"/>
          <p:cNvPicPr>
            <a:picLocks noChangeAspect="1"/>
          </p:cNvPicPr>
          <p:nvPr/>
        </p:nvPicPr>
        <p:blipFill>
          <a:blip r:embed="rId10" cstate="print">
            <a:extLst>
              <a:ext uri="{28A0092B-C50C-407E-A947-70E740481C1C}">
                <a14:useLocalDpi xmlns:a14="http://schemas.microsoft.com/office/drawing/2010/main" val="0"/>
              </a:ext>
            </a:extLst>
          </a:blip>
          <a:srcRect l="13686" t="954" r="19653" b="9968"/>
          <a:stretch>
            <a:fillRect/>
          </a:stretch>
        </p:blipFill>
        <p:spPr>
          <a:xfrm>
            <a:off x="1455777" y="1928856"/>
            <a:ext cx="1625718" cy="1625718"/>
          </a:xfrm>
          <a:custGeom>
            <a:avLst/>
            <a:gdLst>
              <a:gd name="connsiteX0" fmla="*/ 812859 w 1625718"/>
              <a:gd name="connsiteY0" fmla="*/ 0 h 1625718"/>
              <a:gd name="connsiteX1" fmla="*/ 1625718 w 1625718"/>
              <a:gd name="connsiteY1" fmla="*/ 812859 h 1625718"/>
              <a:gd name="connsiteX2" fmla="*/ 812859 w 1625718"/>
              <a:gd name="connsiteY2" fmla="*/ 1625718 h 1625718"/>
              <a:gd name="connsiteX3" fmla="*/ 0 w 1625718"/>
              <a:gd name="connsiteY3" fmla="*/ 812859 h 1625718"/>
              <a:gd name="connsiteX4" fmla="*/ 812859 w 1625718"/>
              <a:gd name="connsiteY4" fmla="*/ 0 h 1625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718" h="1625718">
                <a:moveTo>
                  <a:pt x="812859" y="0"/>
                </a:moveTo>
                <a:cubicBezTo>
                  <a:pt x="1261789" y="0"/>
                  <a:pt x="1625718" y="363929"/>
                  <a:pt x="1625718" y="812859"/>
                </a:cubicBezTo>
                <a:cubicBezTo>
                  <a:pt x="1625718" y="1261789"/>
                  <a:pt x="1261789" y="1625718"/>
                  <a:pt x="812859" y="1625718"/>
                </a:cubicBezTo>
                <a:cubicBezTo>
                  <a:pt x="363929" y="1625718"/>
                  <a:pt x="0" y="1261789"/>
                  <a:pt x="0" y="812859"/>
                </a:cubicBezTo>
                <a:cubicBezTo>
                  <a:pt x="0" y="363929"/>
                  <a:pt x="363929" y="0"/>
                  <a:pt x="812859" y="0"/>
                </a:cubicBezTo>
                <a:close/>
              </a:path>
            </a:pathLst>
          </a:custGeom>
        </p:spPr>
      </p:pic>
      <p:graphicFrame>
        <p:nvGraphicFramePr>
          <p:cNvPr id="26" name="Diagramm 25"/>
          <p:cNvGraphicFramePr/>
          <p:nvPr/>
        </p:nvGraphicFramePr>
        <p:xfrm>
          <a:off x="8746664" y="1563329"/>
          <a:ext cx="2356772" cy="235677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7" name="Diagramm 26"/>
          <p:cNvGraphicFramePr/>
          <p:nvPr/>
        </p:nvGraphicFramePr>
        <p:xfrm>
          <a:off x="4911264" y="1563329"/>
          <a:ext cx="2356772" cy="2356772"/>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8" name="Diagramm 27"/>
          <p:cNvGraphicFramePr/>
          <p:nvPr/>
        </p:nvGraphicFramePr>
        <p:xfrm>
          <a:off x="1099677" y="1563329"/>
          <a:ext cx="2356772" cy="2356772"/>
        </p:xfrm>
        <a:graphic>
          <a:graphicData uri="http://schemas.openxmlformats.org/drawingml/2006/chart">
            <c:chart xmlns:c="http://schemas.openxmlformats.org/drawingml/2006/chart" xmlns:r="http://schemas.openxmlformats.org/officeDocument/2006/relationships" r:id="rId13"/>
          </a:graphicData>
        </a:graphic>
      </p:graphicFrame>
    </p:spTree>
    <p:custDataLst>
      <p:tags r:id="rId1"/>
    </p:custDataLst>
    <p:extLst>
      <p:ext uri="{BB962C8B-B14F-4D97-AF65-F5344CB8AC3E}">
        <p14:creationId xmlns:p14="http://schemas.microsoft.com/office/powerpoint/2010/main" val="3235561498"/>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4A1D77DE-94AD-4D3C-8EC8-5A58544C8722}"/>
              </a:ext>
            </a:extLst>
          </p:cNvPr>
          <p:cNvGraphicFramePr>
            <a:graphicFrameLocks noChangeAspect="1"/>
          </p:cNvGraphicFramePr>
          <p:nvPr>
            <p:custDataLst>
              <p:tags r:id="rId1"/>
            </p:custDataLst>
            <p:extLst>
              <p:ext uri="{D42A27DB-BD31-4B8C-83A1-F6EECF244321}">
                <p14:modId xmlns:p14="http://schemas.microsoft.com/office/powerpoint/2010/main" val="278391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5" name="Objekt 14" hidden="1">
                        <a:extLst>
                          <a:ext uri="{FF2B5EF4-FFF2-40B4-BE49-F238E27FC236}">
                            <a16:creationId xmlns:a16="http://schemas.microsoft.com/office/drawing/2014/main" id="{4A1D77DE-94AD-4D3C-8EC8-5A58544C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Grafik 24">
            <a:extLst>
              <a:ext uri="{FF2B5EF4-FFF2-40B4-BE49-F238E27FC236}">
                <a16:creationId xmlns:a16="http://schemas.microsoft.com/office/drawing/2014/main" id="{BE935C97-3BDB-4DA2-9299-65A90E8D105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668988" y="1412875"/>
            <a:ext cx="3358598" cy="2642401"/>
          </a:xfrm>
          <a:prstGeom prst="rect">
            <a:avLst/>
          </a:prstGeom>
        </p:spPr>
      </p:pic>
      <p:pic>
        <p:nvPicPr>
          <p:cNvPr id="29" name="Grafik 28">
            <a:extLst>
              <a:ext uri="{FF2B5EF4-FFF2-40B4-BE49-F238E27FC236}">
                <a16:creationId xmlns:a16="http://schemas.microsoft.com/office/drawing/2014/main" id="{1D3EC102-DACE-4F1C-9586-744051E9DD4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88947" y="2509646"/>
            <a:ext cx="2000041" cy="3791795"/>
          </a:xfrm>
          <a:prstGeom prst="rect">
            <a:avLst/>
          </a:prstGeom>
        </p:spPr>
      </p:pic>
      <p:pic>
        <p:nvPicPr>
          <p:cNvPr id="31" name="Grafik 30">
            <a:extLst>
              <a:ext uri="{FF2B5EF4-FFF2-40B4-BE49-F238E27FC236}">
                <a16:creationId xmlns:a16="http://schemas.microsoft.com/office/drawing/2014/main" id="{D80072CB-AD73-406B-ACE7-31B69B79624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207586" y="2921017"/>
            <a:ext cx="1990538" cy="3381212"/>
          </a:xfrm>
          <a:prstGeom prst="rect">
            <a:avLst/>
          </a:prstGeom>
        </p:spPr>
      </p:pic>
      <p:pic>
        <p:nvPicPr>
          <p:cNvPr id="33" name="Grafik 32">
            <a:extLst>
              <a:ext uri="{FF2B5EF4-FFF2-40B4-BE49-F238E27FC236}">
                <a16:creationId xmlns:a16="http://schemas.microsoft.com/office/drawing/2014/main" id="{1418BAF9-8605-4B45-9FFC-B1338BCCE77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8378124" y="1413933"/>
            <a:ext cx="3335506" cy="3365465"/>
          </a:xfrm>
          <a:prstGeom prst="rect">
            <a:avLst/>
          </a:prstGeom>
        </p:spPr>
      </p:pic>
      <p:sp>
        <p:nvSpPr>
          <p:cNvPr id="2" name="Titel 1">
            <a:extLst>
              <a:ext uri="{FF2B5EF4-FFF2-40B4-BE49-F238E27FC236}">
                <a16:creationId xmlns:a16="http://schemas.microsoft.com/office/drawing/2014/main" id="{A4F11BA2-1678-476F-8D1D-B3CA79C25896}"/>
              </a:ext>
            </a:extLst>
          </p:cNvPr>
          <p:cNvSpPr>
            <a:spLocks noGrp="1"/>
          </p:cNvSpPr>
          <p:nvPr>
            <p:ph type="title"/>
          </p:nvPr>
        </p:nvSpPr>
        <p:spPr/>
        <p:txBody>
          <a:bodyPr/>
          <a:lstStyle/>
          <a:p>
            <a:endParaRPr lang="de-DE" noProof="1"/>
          </a:p>
        </p:txBody>
      </p:sp>
      <p:sp>
        <p:nvSpPr>
          <p:cNvPr id="4" name="Textfeld 3">
            <a:extLst>
              <a:ext uri="{FF2B5EF4-FFF2-40B4-BE49-F238E27FC236}">
                <a16:creationId xmlns:a16="http://schemas.microsoft.com/office/drawing/2014/main" id="{64AB3595-8568-4208-A176-8C7B57C16219}"/>
              </a:ext>
            </a:extLst>
          </p:cNvPr>
          <p:cNvSpPr txBox="1"/>
          <p:nvPr/>
        </p:nvSpPr>
        <p:spPr>
          <a:xfrm>
            <a:off x="488947" y="1560383"/>
            <a:ext cx="2000041" cy="80150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400" kern="1200" noProof="1">
                <a:solidFill>
                  <a:srgbClr val="000000"/>
                </a:solidFill>
                <a:latin typeface="+mn-lt"/>
                <a:ea typeface="+mn-ea"/>
                <a:cs typeface="+mn-cs"/>
              </a:rPr>
              <a:t>Lorem ipsum dolor sit amet, consectetuer adipiscing elit. Maecenas porttitor congue massa.</a:t>
            </a:r>
          </a:p>
        </p:txBody>
      </p:sp>
      <p:cxnSp>
        <p:nvCxnSpPr>
          <p:cNvPr id="6" name="Gerader Verbinder 5">
            <a:extLst>
              <a:ext uri="{FF2B5EF4-FFF2-40B4-BE49-F238E27FC236}">
                <a16:creationId xmlns:a16="http://schemas.microsoft.com/office/drawing/2014/main" id="{ACF69055-55F3-47D7-840E-AA661C966016}"/>
              </a:ext>
            </a:extLst>
          </p:cNvPr>
          <p:cNvCxnSpPr>
            <a:cxnSpLocks/>
          </p:cNvCxnSpPr>
          <p:nvPr/>
        </p:nvCxnSpPr>
        <p:spPr>
          <a:xfrm>
            <a:off x="476697" y="1423521"/>
            <a:ext cx="1971225"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B7F58BBD-05BD-4D0D-BF27-40F6E2B2BEF7}"/>
              </a:ext>
            </a:extLst>
          </p:cNvPr>
          <p:cNvSpPr txBox="1"/>
          <p:nvPr/>
        </p:nvSpPr>
        <p:spPr>
          <a:xfrm>
            <a:off x="6207586" y="1560383"/>
            <a:ext cx="1990538" cy="1202252"/>
          </a:xfrm>
          <a:prstGeom prst="rect">
            <a:avLst/>
          </a:prstGeom>
        </p:spPr>
        <p:txBody>
          <a:bodyPr vert="horz" wrap="square" lIns="0" tIns="0" rIns="0" bIns="0" rtlCol="0">
            <a:spAutoFit/>
          </a:bodyPr>
          <a:lstStyle/>
          <a:p>
            <a:pPr>
              <a:lnSpc>
                <a:spcPct val="93000"/>
              </a:lnSpc>
              <a:spcAft>
                <a:spcPts val="600"/>
              </a:spcAft>
              <a:buClr>
                <a:schemeClr val="tx2"/>
              </a:buClr>
            </a:pPr>
            <a:r>
              <a:rPr lang="de-DE" sz="1400" kern="1200" noProof="1">
                <a:solidFill>
                  <a:srgbClr val="000000"/>
                </a:solidFill>
                <a:latin typeface="+mn-lt"/>
                <a:ea typeface="+mn-ea"/>
                <a:cs typeface="+mn-cs"/>
              </a:rPr>
              <a:t>Lorem ipsum dolor sit amet, consectetuer adipiscing elit. Maecenas porttitor congue massa. Lorem ipsum dolor sit amet, consectetuer adipiscing elit.</a:t>
            </a:r>
          </a:p>
        </p:txBody>
      </p:sp>
      <p:cxnSp>
        <p:nvCxnSpPr>
          <p:cNvPr id="13" name="Gerader Verbinder 12">
            <a:extLst>
              <a:ext uri="{FF2B5EF4-FFF2-40B4-BE49-F238E27FC236}">
                <a16:creationId xmlns:a16="http://schemas.microsoft.com/office/drawing/2014/main" id="{4CE10F20-AD67-459B-AFC4-15810093D8E6}"/>
              </a:ext>
            </a:extLst>
          </p:cNvPr>
          <p:cNvCxnSpPr>
            <a:cxnSpLocks/>
          </p:cNvCxnSpPr>
          <p:nvPr/>
        </p:nvCxnSpPr>
        <p:spPr>
          <a:xfrm>
            <a:off x="6207586" y="1412875"/>
            <a:ext cx="1990538"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A78D4CB9-7CAB-4014-9230-74C5D110AE10}"/>
              </a:ext>
            </a:extLst>
          </p:cNvPr>
          <p:cNvCxnSpPr/>
          <p:nvPr/>
        </p:nvCxnSpPr>
        <p:spPr>
          <a:xfrm>
            <a:off x="2668988" y="4207779"/>
            <a:ext cx="3358598" cy="4"/>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C42F367-735D-483F-B485-B8B13398E384}"/>
              </a:ext>
            </a:extLst>
          </p:cNvPr>
          <p:cNvCxnSpPr/>
          <p:nvPr/>
        </p:nvCxnSpPr>
        <p:spPr>
          <a:xfrm>
            <a:off x="8378124" y="4948225"/>
            <a:ext cx="3335506" cy="4"/>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E8EC362B-3F54-4AE3-B049-659F14EC7551}"/>
              </a:ext>
            </a:extLst>
          </p:cNvPr>
          <p:cNvSpPr txBox="1"/>
          <p:nvPr/>
        </p:nvSpPr>
        <p:spPr>
          <a:xfrm>
            <a:off x="2668988" y="4352361"/>
            <a:ext cx="3358598" cy="1957267"/>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400" kern="1200" noProof="1">
                <a:solidFill>
                  <a:srgbClr val="000000"/>
                </a:solidFill>
                <a:latin typeface="+mn-lt"/>
                <a:ea typeface="+mn-ea"/>
                <a:cs typeface="+mn-cs"/>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sz="1400" kern="1200" noProof="1">
                <a:solidFill>
                  <a:srgbClr val="000000"/>
                </a:solidFill>
                <a:latin typeface="+mn-lt"/>
                <a:ea typeface="+mn-ea"/>
                <a:cs typeface="+mn-cs"/>
              </a:rPr>
              <a:t>Nunc viverra imperdiet enim. Fusce est. Vivamus a tellus.</a:t>
            </a:r>
          </a:p>
          <a:p>
            <a:pPr algn="l" defTabSz="914400" eaLnBrk="1" latinLnBrk="0" hangingPunct="1">
              <a:lnSpc>
                <a:spcPct val="93000"/>
              </a:lnSpc>
              <a:spcAft>
                <a:spcPts val="600"/>
              </a:spcAft>
              <a:buClr>
                <a:schemeClr val="tx2"/>
              </a:buClr>
            </a:pPr>
            <a:r>
              <a:rPr lang="de-DE" sz="1400" kern="1200" noProof="1">
                <a:solidFill>
                  <a:srgbClr val="000000"/>
                </a:solidFill>
                <a:latin typeface="+mn-lt"/>
                <a:ea typeface="+mn-ea"/>
                <a:cs typeface="+mn-cs"/>
              </a:rPr>
              <a:t>Pellentesque habitant morbi tristique senectus et netus et malesuada fames ac turpis egestas. </a:t>
            </a:r>
          </a:p>
        </p:txBody>
      </p:sp>
      <p:sp>
        <p:nvSpPr>
          <p:cNvPr id="22" name="Textfeld 21">
            <a:extLst>
              <a:ext uri="{FF2B5EF4-FFF2-40B4-BE49-F238E27FC236}">
                <a16:creationId xmlns:a16="http://schemas.microsoft.com/office/drawing/2014/main" id="{09FCFD34-03D4-4D1F-B085-1F32F6141FCD}"/>
              </a:ext>
            </a:extLst>
          </p:cNvPr>
          <p:cNvSpPr txBox="1"/>
          <p:nvPr/>
        </p:nvSpPr>
        <p:spPr>
          <a:xfrm>
            <a:off x="8378124" y="5103653"/>
            <a:ext cx="3335506" cy="1001877"/>
          </a:xfrm>
          <a:prstGeom prst="rect">
            <a:avLst/>
          </a:prstGeom>
          <a:noFill/>
        </p:spPr>
        <p:txBody>
          <a:bodyPr wrap="square" lIns="0" tIns="0" rIns="0" bIns="0">
            <a:spAutoFit/>
          </a:bodyPr>
          <a:lstStyle/>
          <a:p>
            <a:pPr algn="l" defTabSz="914400" eaLnBrk="1" latinLnBrk="0" hangingPunct="1">
              <a:lnSpc>
                <a:spcPct val="93000"/>
              </a:lnSpc>
              <a:spcAft>
                <a:spcPts val="600"/>
              </a:spcAft>
              <a:buClr>
                <a:schemeClr val="tx2"/>
              </a:buClr>
            </a:pPr>
            <a:r>
              <a:rPr lang="de-DE" sz="1400" kern="1200" noProof="1">
                <a:solidFill>
                  <a:srgbClr val="000000"/>
                </a:solidFill>
                <a:latin typeface="+mn-lt"/>
                <a:ea typeface="+mn-ea"/>
                <a:cs typeface="+mn-cs"/>
              </a:rPr>
              <a:t>Lorem ipsum dolor sit amet, consectetuer adipiscing elit. Maecenas porttitor congue massa. Fusce posuere, magna sed pulvinar ultricies, purus lectus malesuada libero, sit amet commodo magna eros quis urna.</a:t>
            </a:r>
          </a:p>
        </p:txBody>
      </p:sp>
      <p:cxnSp>
        <p:nvCxnSpPr>
          <p:cNvPr id="23" name="Gerader Verbinder 22">
            <a:extLst>
              <a:ext uri="{FF2B5EF4-FFF2-40B4-BE49-F238E27FC236}">
                <a16:creationId xmlns:a16="http://schemas.microsoft.com/office/drawing/2014/main" id="{6234BDDC-4ED4-4400-B47D-6581B2300889}"/>
              </a:ext>
            </a:extLst>
          </p:cNvPr>
          <p:cNvCxnSpPr>
            <a:cxnSpLocks/>
          </p:cNvCxnSpPr>
          <p:nvPr/>
        </p:nvCxnSpPr>
        <p:spPr>
          <a:xfrm>
            <a:off x="488947" y="1423521"/>
            <a:ext cx="2000041"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7248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EC894DD-D6F8-4AD7-BD38-46EBA158D7CD}"/>
              </a:ext>
            </a:extLst>
          </p:cNvPr>
          <p:cNvGraphicFramePr>
            <a:graphicFrameLocks noChangeAspect="1"/>
          </p:cNvGraphicFramePr>
          <p:nvPr>
            <p:custDataLst>
              <p:tags r:id="rId1"/>
            </p:custDataLst>
            <p:extLst>
              <p:ext uri="{D42A27DB-BD31-4B8C-83A1-F6EECF244321}">
                <p14:modId xmlns:p14="http://schemas.microsoft.com/office/powerpoint/2010/main" val="403580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6" name="Objekt 5" hidden="1">
                        <a:extLst>
                          <a:ext uri="{FF2B5EF4-FFF2-40B4-BE49-F238E27FC236}">
                            <a16:creationId xmlns:a16="http://schemas.microsoft.com/office/drawing/2014/main" id="{CEC894DD-D6F8-4AD7-BD38-46EBA158D7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Bildplatzhalter 4">
            <a:extLst>
              <a:ext uri="{FF2B5EF4-FFF2-40B4-BE49-F238E27FC236}">
                <a16:creationId xmlns:a16="http://schemas.microsoft.com/office/drawing/2014/main" id="{8C29140D-7CC9-4078-92FE-1AAF99EDA298}"/>
              </a:ext>
            </a:extLst>
          </p:cNvPr>
          <p:cNvPicPr>
            <a:picLocks noGrp="1" noChangeAspect="1"/>
          </p:cNvPicPr>
          <p:nvPr>
            <p:ph type="pic" sz="quarter" idx="10"/>
          </p:nvPr>
        </p:nvPicPr>
        <p:blipFill>
          <a:blip r:embed="rId5" cstate="print">
            <a:extLst>
              <a:ext uri="{28A0092B-C50C-407E-A947-70E740481C1C}">
                <a14:useLocalDpi xmlns:a14="http://schemas.microsoft.com/office/drawing/2010/main" val="0"/>
              </a:ext>
            </a:extLst>
          </a:blip>
          <a:srcRect/>
          <a:stretch>
            <a:fillRect/>
          </a:stretch>
        </p:blipFill>
        <p:spPr/>
      </p:pic>
      <p:sp>
        <p:nvSpPr>
          <p:cNvPr id="3" name="Titel 2">
            <a:extLst>
              <a:ext uri="{FF2B5EF4-FFF2-40B4-BE49-F238E27FC236}">
                <a16:creationId xmlns:a16="http://schemas.microsoft.com/office/drawing/2014/main" id="{C592EE9D-E2D2-4D60-BD94-A475FA2CD0BC}"/>
              </a:ext>
            </a:extLst>
          </p:cNvPr>
          <p:cNvSpPr>
            <a:spLocks noGrp="1"/>
          </p:cNvSpPr>
          <p:nvPr>
            <p:ph type="title"/>
          </p:nvPr>
        </p:nvSpPr>
        <p:spPr>
          <a:xfrm>
            <a:off x="0" y="891242"/>
            <a:ext cx="12202578" cy="2064769"/>
          </a:xfrm>
          <a:gradFill>
            <a:gsLst>
              <a:gs pos="42000">
                <a:schemeClr val="tx1">
                  <a:alpha val="0"/>
                </a:schemeClr>
              </a:gs>
              <a:gs pos="62000">
                <a:schemeClr val="tx1">
                  <a:alpha val="52000"/>
                </a:schemeClr>
              </a:gs>
            </a:gsLst>
            <a:lin ang="0" scaled="0"/>
          </a:gradFill>
        </p:spPr>
        <p:txBody>
          <a:bodyPr vert="horz"/>
          <a:lstStyle/>
          <a:p>
            <a:pPr algn="r"/>
            <a:r>
              <a:rPr lang="en-GB" dirty="0"/>
              <a:t>Nunc </a:t>
            </a:r>
            <a:r>
              <a:rPr lang="en-GB" dirty="0" err="1"/>
              <a:t>viverra</a:t>
            </a:r>
            <a:r>
              <a:rPr lang="en-GB" dirty="0"/>
              <a:t> </a:t>
            </a:r>
            <a:br>
              <a:rPr lang="en-GB" dirty="0"/>
            </a:br>
            <a:r>
              <a:rPr lang="en-GB" dirty="0" err="1"/>
              <a:t>imperdiet</a:t>
            </a:r>
            <a:r>
              <a:rPr lang="en-GB" dirty="0"/>
              <a:t> </a:t>
            </a:r>
            <a:r>
              <a:rPr lang="en-GB" dirty="0" err="1"/>
              <a:t>enim</a:t>
            </a:r>
            <a:r>
              <a:rPr lang="en-GB" dirty="0"/>
              <a:t>.</a:t>
            </a:r>
            <a:br>
              <a:rPr lang="en-GB" dirty="0"/>
            </a:br>
            <a:r>
              <a:rPr lang="en-GB" dirty="0" err="1"/>
              <a:t>Fusce</a:t>
            </a:r>
            <a:r>
              <a:rPr lang="en-GB" dirty="0"/>
              <a:t> est. </a:t>
            </a:r>
          </a:p>
        </p:txBody>
      </p:sp>
    </p:spTree>
    <p:extLst>
      <p:ext uri="{BB962C8B-B14F-4D97-AF65-F5344CB8AC3E}">
        <p14:creationId xmlns:p14="http://schemas.microsoft.com/office/powerpoint/2010/main" val="11950055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CDF514BD-FEAF-4072-BA90-D283AB73908B}"/>
              </a:ext>
            </a:extLst>
          </p:cNvPr>
          <p:cNvGraphicFramePr>
            <a:graphicFrameLocks noChangeAspect="1"/>
          </p:cNvGraphicFramePr>
          <p:nvPr>
            <p:custDataLst>
              <p:tags r:id="rId1"/>
            </p:custDataLst>
            <p:extLst>
              <p:ext uri="{D42A27DB-BD31-4B8C-83A1-F6EECF244321}">
                <p14:modId xmlns:p14="http://schemas.microsoft.com/office/powerpoint/2010/main" val="467021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5" name="Objekt 14" hidden="1">
                        <a:extLst>
                          <a:ext uri="{FF2B5EF4-FFF2-40B4-BE49-F238E27FC236}">
                            <a16:creationId xmlns:a16="http://schemas.microsoft.com/office/drawing/2014/main" id="{CDF514BD-FEAF-4072-BA90-D283AB739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D0FF270F-8D35-48D4-B122-4483CBA2BDF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844142" y="1412876"/>
            <a:ext cx="6868433" cy="4895850"/>
          </a:xfrm>
          <a:prstGeom prst="rect">
            <a:avLst/>
          </a:prstGeom>
        </p:spPr>
      </p:pic>
      <p:sp>
        <p:nvSpPr>
          <p:cNvPr id="2" name="Titel 1">
            <a:extLst>
              <a:ext uri="{FF2B5EF4-FFF2-40B4-BE49-F238E27FC236}">
                <a16:creationId xmlns:a16="http://schemas.microsoft.com/office/drawing/2014/main" id="{21E5DE47-8CB6-4359-994D-100D3003E1A0}"/>
              </a:ext>
            </a:extLst>
          </p:cNvPr>
          <p:cNvSpPr>
            <a:spLocks noGrp="1"/>
          </p:cNvSpPr>
          <p:nvPr>
            <p:ph type="title"/>
          </p:nvPr>
        </p:nvSpPr>
        <p:spPr/>
        <p:txBody>
          <a:bodyPr/>
          <a:lstStyle/>
          <a:p>
            <a:endParaRPr lang="de-DE" noProof="1"/>
          </a:p>
        </p:txBody>
      </p:sp>
      <p:cxnSp>
        <p:nvCxnSpPr>
          <p:cNvPr id="7" name="Gerader Verbinder 6">
            <a:extLst>
              <a:ext uri="{FF2B5EF4-FFF2-40B4-BE49-F238E27FC236}">
                <a16:creationId xmlns:a16="http://schemas.microsoft.com/office/drawing/2014/main" id="{81A6969D-B4BF-45D1-AA4C-E4FD85325CC5}"/>
              </a:ext>
            </a:extLst>
          </p:cNvPr>
          <p:cNvCxnSpPr>
            <a:cxnSpLocks/>
          </p:cNvCxnSpPr>
          <p:nvPr/>
        </p:nvCxnSpPr>
        <p:spPr>
          <a:xfrm flipV="1">
            <a:off x="479425" y="1412876"/>
            <a:ext cx="3942104" cy="1"/>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3741CDEE-1924-4D72-9D9A-008DA74A4C8C}"/>
              </a:ext>
            </a:extLst>
          </p:cNvPr>
          <p:cNvSpPr txBox="1"/>
          <p:nvPr/>
        </p:nvSpPr>
        <p:spPr>
          <a:xfrm>
            <a:off x="488948" y="1538511"/>
            <a:ext cx="4025179" cy="3837717"/>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Nunc viverra imperdiet enim. Fusce est. Vivamus a tellus.</a:t>
            </a:r>
          </a:p>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Pellentesque habitant morbi tristique senectus et netus et malesuada fames ac turpis egestas. Proin pharetra nonummy pede. Mauris et orci.</a:t>
            </a:r>
          </a:p>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Lorem ipsum dolor sit amet, consectetuer adipiscing elit. Maecenas porttitor congue massa.</a:t>
            </a:r>
          </a:p>
        </p:txBody>
      </p:sp>
    </p:spTree>
    <p:extLst>
      <p:ext uri="{BB962C8B-B14F-4D97-AF65-F5344CB8AC3E}">
        <p14:creationId xmlns:p14="http://schemas.microsoft.com/office/powerpoint/2010/main" val="17951630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03A351A7-93F2-4E23-B717-CE4123691ADC}"/>
              </a:ext>
            </a:extLst>
          </p:cNvPr>
          <p:cNvGraphicFramePr>
            <a:graphicFrameLocks noChangeAspect="1"/>
          </p:cNvGraphicFramePr>
          <p:nvPr>
            <p:custDataLst>
              <p:tags r:id="rId1"/>
            </p:custDataLst>
            <p:extLst>
              <p:ext uri="{D42A27DB-BD31-4B8C-83A1-F6EECF244321}">
                <p14:modId xmlns:p14="http://schemas.microsoft.com/office/powerpoint/2010/main" val="2405978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7" name="Objekt 16" hidden="1">
                        <a:extLst>
                          <a:ext uri="{FF2B5EF4-FFF2-40B4-BE49-F238E27FC236}">
                            <a16:creationId xmlns:a16="http://schemas.microsoft.com/office/drawing/2014/main" id="{03A351A7-93F2-4E23-B717-CE4123691A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CBC71FE-6924-454E-AAFE-EB7D464849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
          <a:stretch/>
        </p:blipFill>
        <p:spPr>
          <a:xfrm>
            <a:off x="2471057" y="4299222"/>
            <a:ext cx="5255264" cy="2012988"/>
          </a:xfrm>
          <a:prstGeom prst="rect">
            <a:avLst/>
          </a:prstGeom>
        </p:spPr>
      </p:pic>
      <p:pic>
        <p:nvPicPr>
          <p:cNvPr id="8" name="Grafik 7">
            <a:extLst>
              <a:ext uri="{FF2B5EF4-FFF2-40B4-BE49-F238E27FC236}">
                <a16:creationId xmlns:a16="http://schemas.microsoft.com/office/drawing/2014/main" id="{F1753018-0D48-4245-B836-AF1B2B65185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113257" y="1413934"/>
            <a:ext cx="3744922" cy="1252390"/>
          </a:xfrm>
          <a:prstGeom prst="rect">
            <a:avLst/>
          </a:prstGeom>
        </p:spPr>
      </p:pic>
      <p:pic>
        <p:nvPicPr>
          <p:cNvPr id="10" name="Grafik 9">
            <a:extLst>
              <a:ext uri="{FF2B5EF4-FFF2-40B4-BE49-F238E27FC236}">
                <a16:creationId xmlns:a16="http://schemas.microsoft.com/office/drawing/2014/main" id="{E14386FE-2C5A-4F79-8F1A-18E7B5310E9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0068273" y="1413933"/>
            <a:ext cx="1637850" cy="1246682"/>
          </a:xfrm>
          <a:prstGeom prst="rect">
            <a:avLst/>
          </a:prstGeom>
        </p:spPr>
      </p:pic>
      <p:pic>
        <p:nvPicPr>
          <p:cNvPr id="12" name="Grafik 11">
            <a:extLst>
              <a:ext uri="{FF2B5EF4-FFF2-40B4-BE49-F238E27FC236}">
                <a16:creationId xmlns:a16="http://schemas.microsoft.com/office/drawing/2014/main" id="{1EF8FFEC-5755-46FA-B49E-725F8A82095E}"/>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563320" y="1412875"/>
            <a:ext cx="3442145" cy="2705289"/>
          </a:xfrm>
          <a:prstGeom prst="rect">
            <a:avLst/>
          </a:prstGeom>
        </p:spPr>
      </p:pic>
      <p:pic>
        <p:nvPicPr>
          <p:cNvPr id="32" name="Grafik 31">
            <a:extLst>
              <a:ext uri="{FF2B5EF4-FFF2-40B4-BE49-F238E27FC236}">
                <a16:creationId xmlns:a16="http://schemas.microsoft.com/office/drawing/2014/main" id="{02E42AEA-FD57-472B-8DAC-BF8D9D80514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7936939" y="2852151"/>
            <a:ext cx="3776692" cy="3456573"/>
          </a:xfrm>
          <a:prstGeom prst="rect">
            <a:avLst/>
          </a:prstGeom>
        </p:spPr>
      </p:pic>
      <p:pic>
        <p:nvPicPr>
          <p:cNvPr id="33" name="Grafik 32">
            <a:extLst>
              <a:ext uri="{FF2B5EF4-FFF2-40B4-BE49-F238E27FC236}">
                <a16:creationId xmlns:a16="http://schemas.microsoft.com/office/drawing/2014/main" id="{D11E999A-1FC7-4D2A-B91F-1E48D07F2BA4}"/>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6121627" y="2846324"/>
            <a:ext cx="1634157" cy="1261170"/>
          </a:xfrm>
          <a:prstGeom prst="rect">
            <a:avLst/>
          </a:prstGeom>
        </p:spPr>
      </p:pic>
      <p:sp>
        <p:nvSpPr>
          <p:cNvPr id="2" name="Titel 1">
            <a:extLst>
              <a:ext uri="{FF2B5EF4-FFF2-40B4-BE49-F238E27FC236}">
                <a16:creationId xmlns:a16="http://schemas.microsoft.com/office/drawing/2014/main" id="{05EE0683-2923-4774-BB31-78E7A6CCCF09}"/>
              </a:ext>
            </a:extLst>
          </p:cNvPr>
          <p:cNvSpPr>
            <a:spLocks noGrp="1"/>
          </p:cNvSpPr>
          <p:nvPr>
            <p:ph type="title"/>
          </p:nvPr>
        </p:nvSpPr>
        <p:spPr/>
        <p:txBody>
          <a:bodyPr/>
          <a:lstStyle/>
          <a:p>
            <a:endParaRPr lang="de-DE" noProof="1"/>
          </a:p>
        </p:txBody>
      </p:sp>
      <p:sp>
        <p:nvSpPr>
          <p:cNvPr id="4" name="Textfeld 3">
            <a:extLst>
              <a:ext uri="{FF2B5EF4-FFF2-40B4-BE49-F238E27FC236}">
                <a16:creationId xmlns:a16="http://schemas.microsoft.com/office/drawing/2014/main" id="{64AB3595-8568-4208-A176-8C7B57C16219}"/>
              </a:ext>
            </a:extLst>
          </p:cNvPr>
          <p:cNvSpPr txBox="1"/>
          <p:nvPr/>
        </p:nvSpPr>
        <p:spPr>
          <a:xfrm>
            <a:off x="488947" y="1568306"/>
            <a:ext cx="1788419" cy="1527726"/>
          </a:xfrm>
          <a:prstGeom prst="rect">
            <a:avLst/>
          </a:prstGeom>
        </p:spPr>
        <p:txBody>
          <a:bodyPr vert="horz" wrap="square" lIns="0" tIns="0" rIns="0" bIns="0" rtlCol="0">
            <a:spAutoFit/>
          </a:bodyPr>
          <a:lstStyle/>
          <a:p>
            <a:pPr algn="l" defTabSz="914400" eaLnBrk="1" latinLnBrk="0" hangingPunct="1">
              <a:lnSpc>
                <a:spcPct val="93000"/>
              </a:lnSpc>
              <a:spcAft>
                <a:spcPts val="1200"/>
              </a:spcAft>
              <a:buClr>
                <a:schemeClr val="tx2"/>
              </a:buClr>
            </a:pPr>
            <a:r>
              <a:rPr lang="de-DE" sz="1600" noProof="1">
                <a:solidFill>
                  <a:srgbClr val="000000"/>
                </a:solidFill>
              </a:rPr>
              <a:t>Lorem ipsum dolor sit amet, consectetuer adipiscing elit. </a:t>
            </a:r>
          </a:p>
          <a:p>
            <a:pPr algn="l" defTabSz="914400" eaLnBrk="1" latinLnBrk="0" hangingPunct="1">
              <a:lnSpc>
                <a:spcPct val="93000"/>
              </a:lnSpc>
              <a:spcAft>
                <a:spcPts val="1200"/>
              </a:spcAft>
              <a:buClr>
                <a:schemeClr val="tx2"/>
              </a:buClr>
            </a:pPr>
            <a:r>
              <a:rPr lang="de-DE" sz="1600" noProof="1">
                <a:solidFill>
                  <a:srgbClr val="000000"/>
                </a:solidFill>
              </a:rPr>
              <a:t>Maecenas porttitor congue massa. Fusce posuere, magna sed.</a:t>
            </a:r>
            <a:endParaRPr lang="de-DE" sz="1600" kern="1200" noProof="1">
              <a:solidFill>
                <a:srgbClr val="000000"/>
              </a:solidFill>
              <a:latin typeface="+mn-lt"/>
              <a:ea typeface="+mn-ea"/>
              <a:cs typeface="+mn-cs"/>
            </a:endParaRPr>
          </a:p>
        </p:txBody>
      </p:sp>
      <p:cxnSp>
        <p:nvCxnSpPr>
          <p:cNvPr id="6" name="Gerader Verbinder 5">
            <a:extLst>
              <a:ext uri="{FF2B5EF4-FFF2-40B4-BE49-F238E27FC236}">
                <a16:creationId xmlns:a16="http://schemas.microsoft.com/office/drawing/2014/main" id="{ACF69055-55F3-47D7-840E-AA661C966016}"/>
              </a:ext>
            </a:extLst>
          </p:cNvPr>
          <p:cNvCxnSpPr>
            <a:cxnSpLocks/>
          </p:cNvCxnSpPr>
          <p:nvPr/>
        </p:nvCxnSpPr>
        <p:spPr>
          <a:xfrm>
            <a:off x="467175" y="1412875"/>
            <a:ext cx="1810191"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7" name="Sports Activity Vehicle">
            <a:extLst>
              <a:ext uri="{FF2B5EF4-FFF2-40B4-BE49-F238E27FC236}">
                <a16:creationId xmlns:a16="http://schemas.microsoft.com/office/drawing/2014/main" id="{0720EB65-AD1F-F9C0-7719-B69365FCAE7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3681" y="3132278"/>
            <a:ext cx="1033892" cy="689261"/>
          </a:xfrm>
          <a:prstGeom prst="rect">
            <a:avLst/>
          </a:prstGeom>
        </p:spPr>
      </p:pic>
      <p:pic>
        <p:nvPicPr>
          <p:cNvPr id="11" name="BMW Group">
            <a:extLst>
              <a:ext uri="{FF2B5EF4-FFF2-40B4-BE49-F238E27FC236}">
                <a16:creationId xmlns:a16="http://schemas.microsoft.com/office/drawing/2014/main" id="{1CDDA89B-024C-16B4-076D-435A5D0D015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227711" y="247268"/>
            <a:ext cx="1598064" cy="833346"/>
          </a:xfrm>
          <a:prstGeom prst="rect">
            <a:avLst/>
          </a:prstGeom>
        </p:spPr>
      </p:pic>
      <p:pic>
        <p:nvPicPr>
          <p:cNvPr id="14" name="Graphic 13">
            <a:extLst>
              <a:ext uri="{FF2B5EF4-FFF2-40B4-BE49-F238E27FC236}">
                <a16:creationId xmlns:a16="http://schemas.microsoft.com/office/drawing/2014/main" id="{8207ECF7-3D6D-BF81-1538-D0FACDC945F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06580" y="3600482"/>
            <a:ext cx="1397480" cy="1397480"/>
          </a:xfrm>
          <a:prstGeom prst="rect">
            <a:avLst/>
          </a:prstGeom>
        </p:spPr>
      </p:pic>
      <p:pic>
        <p:nvPicPr>
          <p:cNvPr id="19" name="Graphic 18">
            <a:extLst>
              <a:ext uri="{FF2B5EF4-FFF2-40B4-BE49-F238E27FC236}">
                <a16:creationId xmlns:a16="http://schemas.microsoft.com/office/drawing/2014/main" id="{1DF37893-54EE-6243-C897-1A28C0E3191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75532" y="4997962"/>
            <a:ext cx="2295525" cy="266700"/>
          </a:xfrm>
          <a:prstGeom prst="rect">
            <a:avLst/>
          </a:prstGeom>
        </p:spPr>
      </p:pic>
    </p:spTree>
    <p:extLst>
      <p:ext uri="{BB962C8B-B14F-4D97-AF65-F5344CB8AC3E}">
        <p14:creationId xmlns:p14="http://schemas.microsoft.com/office/powerpoint/2010/main" val="13174779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CCFEF5D-1A98-4C21-8D5A-E0FBA36AE88C}"/>
              </a:ext>
            </a:extLst>
          </p:cNvPr>
          <p:cNvGraphicFramePr>
            <a:graphicFrameLocks noChangeAspect="1"/>
          </p:cNvGraphicFramePr>
          <p:nvPr>
            <p:custDataLst>
              <p:tags r:id="rId1"/>
            </p:custDataLst>
            <p:extLst>
              <p:ext uri="{D42A27DB-BD31-4B8C-83A1-F6EECF244321}">
                <p14:modId xmlns:p14="http://schemas.microsoft.com/office/powerpoint/2010/main" val="2478081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8" name="Objekt 7" hidden="1">
                        <a:extLst>
                          <a:ext uri="{FF2B5EF4-FFF2-40B4-BE49-F238E27FC236}">
                            <a16:creationId xmlns:a16="http://schemas.microsoft.com/office/drawing/2014/main" id="{ECCFEF5D-1A98-4C21-8D5A-E0FBA36AE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30328016-5A3A-464D-BC20-6A6BB19529A7}"/>
              </a:ext>
            </a:extLst>
          </p:cNvPr>
          <p:cNvSpPr>
            <a:spLocks noGrp="1"/>
          </p:cNvSpPr>
          <p:nvPr>
            <p:ph type="title"/>
          </p:nvPr>
        </p:nvSpPr>
        <p:spPr/>
        <p:txBody>
          <a:bodyPr/>
          <a:lstStyle/>
          <a:p>
            <a:endParaRPr lang="de-DE" noProof="1"/>
          </a:p>
        </p:txBody>
      </p:sp>
      <p:pic>
        <p:nvPicPr>
          <p:cNvPr id="4" name="Grafik 3">
            <a:extLst>
              <a:ext uri="{FF2B5EF4-FFF2-40B4-BE49-F238E27FC236}">
                <a16:creationId xmlns:a16="http://schemas.microsoft.com/office/drawing/2014/main" id="{20117FF2-620D-4ABF-BB92-31FA274F818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flipH="1">
            <a:off x="0" y="0"/>
            <a:ext cx="12192000" cy="6570663"/>
          </a:xfrm>
          <a:prstGeom prst="rect">
            <a:avLst/>
          </a:prstGeom>
        </p:spPr>
      </p:pic>
      <p:sp>
        <p:nvSpPr>
          <p:cNvPr id="5" name="Rechteck 4">
            <a:extLst>
              <a:ext uri="{FF2B5EF4-FFF2-40B4-BE49-F238E27FC236}">
                <a16:creationId xmlns:a16="http://schemas.microsoft.com/office/drawing/2014/main" id="{F5372010-6A8B-435E-96A3-9C311F10D44F}"/>
              </a:ext>
            </a:extLst>
          </p:cNvPr>
          <p:cNvSpPr/>
          <p:nvPr/>
        </p:nvSpPr>
        <p:spPr>
          <a:xfrm>
            <a:off x="0" y="0"/>
            <a:ext cx="6096000" cy="5998029"/>
          </a:xfrm>
          <a:prstGeom prst="rect">
            <a:avLst/>
          </a:prstGeom>
          <a:solidFill>
            <a:srgbClr val="6B175B">
              <a:alpha val="7900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152000" tIns="936017" rIns="1188000" rtlCol="0" anchor="ctr" anchorCtr="1"/>
          <a:lstStyle/>
          <a:p>
            <a:pPr marL="0" marR="0" lvl="0" indent="0" algn="l" defTabSz="914400" eaLnBrk="1" fontAlgn="auto" latinLnBrk="0" hangingPunct="1">
              <a:lnSpc>
                <a:spcPct val="100000"/>
              </a:lnSpc>
              <a:spcBef>
                <a:spcPts val="0"/>
              </a:spcBef>
              <a:spcAft>
                <a:spcPts val="600"/>
              </a:spcAft>
              <a:buClr>
                <a:srgbClr val="035970"/>
              </a:buClr>
              <a:buSzTx/>
              <a:buFontTx/>
              <a:buNone/>
              <a:tabLst/>
              <a:defRPr/>
            </a:pPr>
            <a:r>
              <a:rPr kumimoji="0" lang="de-DE" sz="1800" b="0" i="0" u="none" strike="noStrike" kern="1200" cap="none" spc="0" normalizeH="0" baseline="0" noProof="1">
                <a:ln>
                  <a:noFill/>
                </a:ln>
                <a:solidFill>
                  <a:srgbClr val="FFFFFF"/>
                </a:solidFill>
                <a:effectLst/>
                <a:uLnTx/>
                <a:uFillTx/>
                <a:latin typeface="BMWGroupTN Condensed"/>
                <a:ea typeface="+mn-ea"/>
                <a:cs typeface="+mn-cs"/>
              </a:rPr>
              <a:t>Lorem ipsum dolor sit amet, consectetuer adipiscing elit. Maecenas porttitor congue massa. Fusce posuere, magna sed pulvinar ultricies, purus lectus malesuada libero, sit amet commodo magna eros quis urna.</a:t>
            </a:r>
          </a:p>
          <a:p>
            <a:pPr marL="0" marR="0" lvl="0" indent="0" algn="l" defTabSz="914400" eaLnBrk="1" fontAlgn="auto" latinLnBrk="0" hangingPunct="1">
              <a:lnSpc>
                <a:spcPct val="100000"/>
              </a:lnSpc>
              <a:spcBef>
                <a:spcPts val="0"/>
              </a:spcBef>
              <a:spcAft>
                <a:spcPts val="600"/>
              </a:spcAft>
              <a:buClr>
                <a:srgbClr val="035970"/>
              </a:buClr>
              <a:buSzTx/>
              <a:buFontTx/>
              <a:buNone/>
              <a:tabLst/>
              <a:defRPr/>
            </a:pPr>
            <a:r>
              <a:rPr kumimoji="0" lang="de-DE" sz="1800" b="0" i="0" u="none" strike="noStrike" kern="1200" cap="none" spc="0" normalizeH="0" baseline="0" noProof="1">
                <a:ln>
                  <a:noFill/>
                </a:ln>
                <a:solidFill>
                  <a:srgbClr val="FFFFFF"/>
                </a:solidFill>
                <a:effectLst/>
                <a:uLnTx/>
                <a:uFillTx/>
                <a:latin typeface="BMWGroupTN Condensed"/>
                <a:ea typeface="+mn-ea"/>
                <a:cs typeface="+mn-cs"/>
              </a:rPr>
              <a:t>Nunc viverra imperdiet enim. Fusce est. Vivamus a tellus.</a:t>
            </a:r>
            <a:endParaRPr lang="de-DE" noProof="1">
              <a:solidFill>
                <a:schemeClr val="tx1"/>
              </a:solidFill>
            </a:endParaRPr>
          </a:p>
        </p:txBody>
      </p:sp>
      <p:sp>
        <p:nvSpPr>
          <p:cNvPr id="6" name="Titel 2">
            <a:extLst>
              <a:ext uri="{FF2B5EF4-FFF2-40B4-BE49-F238E27FC236}">
                <a16:creationId xmlns:a16="http://schemas.microsoft.com/office/drawing/2014/main" id="{84EB530B-71F4-4CA7-BEA2-EED7C1259286}"/>
              </a:ext>
            </a:extLst>
          </p:cNvPr>
          <p:cNvSpPr txBox="1">
            <a:spLocks/>
          </p:cNvSpPr>
          <p:nvPr/>
        </p:nvSpPr>
        <p:spPr>
          <a:xfrm>
            <a:off x="488947" y="347184"/>
            <a:ext cx="4731235" cy="400110"/>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ts val="0"/>
              </a:spcBef>
              <a:spcAft>
                <a:spcPts val="600"/>
              </a:spcAft>
              <a:buNone/>
              <a:defRPr sz="2600" b="0" kern="1200" cap="all" baseline="0">
                <a:solidFill>
                  <a:schemeClr val="tx2"/>
                </a:solidFill>
                <a:latin typeface="+mj-lt"/>
                <a:ea typeface="+mj-ea"/>
                <a:cs typeface="+mj-cs"/>
              </a:defRPr>
            </a:lvl1pPr>
          </a:lstStyle>
          <a:p>
            <a:r>
              <a:rPr lang="de-DE" noProof="1">
                <a:solidFill>
                  <a:schemeClr val="bg1"/>
                </a:solidFill>
              </a:rPr>
              <a:t>Maecenas portitor congue.</a:t>
            </a:r>
          </a:p>
        </p:txBody>
      </p:sp>
    </p:spTree>
    <p:extLst>
      <p:ext uri="{BB962C8B-B14F-4D97-AF65-F5344CB8AC3E}">
        <p14:creationId xmlns:p14="http://schemas.microsoft.com/office/powerpoint/2010/main" val="2589048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a:extLst>
              <a:ext uri="{FF2B5EF4-FFF2-40B4-BE49-F238E27FC236}">
                <a16:creationId xmlns:a16="http://schemas.microsoft.com/office/drawing/2014/main" id="{BDA083E0-03C5-4D92-A476-FD8EBD5D1CCD}"/>
              </a:ext>
            </a:extLst>
          </p:cNvPr>
          <p:cNvGraphicFramePr>
            <a:graphicFrameLocks noChangeAspect="1"/>
          </p:cNvGraphicFramePr>
          <p:nvPr>
            <p:custDataLst>
              <p:tags r:id="rId1"/>
            </p:custDataLst>
            <p:extLst>
              <p:ext uri="{D42A27DB-BD31-4B8C-83A1-F6EECF244321}">
                <p14:modId xmlns:p14="http://schemas.microsoft.com/office/powerpoint/2010/main" val="1805819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21" name="Objekt 20" hidden="1">
                        <a:extLst>
                          <a:ext uri="{FF2B5EF4-FFF2-40B4-BE49-F238E27FC236}">
                            <a16:creationId xmlns:a16="http://schemas.microsoft.com/office/drawing/2014/main" id="{BDA083E0-03C5-4D92-A476-FD8EBD5D1C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Grafik 23">
            <a:extLst>
              <a:ext uri="{FF2B5EF4-FFF2-40B4-BE49-F238E27FC236}">
                <a16:creationId xmlns:a16="http://schemas.microsoft.com/office/drawing/2014/main" id="{3B7EBEB5-2891-49EC-9031-C5A46987230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284996" y="1424374"/>
            <a:ext cx="1719018" cy="4552496"/>
          </a:xfrm>
          <a:prstGeom prst="rect">
            <a:avLst/>
          </a:prstGeom>
        </p:spPr>
      </p:pic>
      <p:pic>
        <p:nvPicPr>
          <p:cNvPr id="28" name="Grafik 27">
            <a:extLst>
              <a:ext uri="{FF2B5EF4-FFF2-40B4-BE49-F238E27FC236}">
                <a16:creationId xmlns:a16="http://schemas.microsoft.com/office/drawing/2014/main" id="{E11C996A-02B2-49B9-AF9A-D45964791C81}"/>
              </a:ext>
            </a:extLst>
          </p:cNvPr>
          <p:cNvPicPr>
            <a:picLocks/>
          </p:cNvPicPr>
          <p:nvPr/>
        </p:nvPicPr>
        <p:blipFill rotWithShape="1">
          <a:blip r:embed="rId7" cstate="print">
            <a:extLst>
              <a:ext uri="{28A0092B-C50C-407E-A947-70E740481C1C}">
                <a14:useLocalDpi xmlns:a14="http://schemas.microsoft.com/office/drawing/2010/main" val="0"/>
              </a:ext>
            </a:extLst>
          </a:blip>
          <a:srcRect/>
          <a:stretch/>
        </p:blipFill>
        <p:spPr>
          <a:xfrm>
            <a:off x="9994613" y="1414992"/>
            <a:ext cx="1719018" cy="4552496"/>
          </a:xfrm>
          <a:prstGeom prst="rect">
            <a:avLst/>
          </a:prstGeom>
        </p:spPr>
      </p:pic>
      <p:pic>
        <p:nvPicPr>
          <p:cNvPr id="33" name="Grafik 32">
            <a:extLst>
              <a:ext uri="{FF2B5EF4-FFF2-40B4-BE49-F238E27FC236}">
                <a16:creationId xmlns:a16="http://schemas.microsoft.com/office/drawing/2014/main" id="{E742DE43-D974-4AC2-9FAC-2236A8B4A4B1}"/>
              </a:ext>
            </a:extLst>
          </p:cNvPr>
          <p:cNvPicPr>
            <a:picLocks/>
          </p:cNvPicPr>
          <p:nvPr/>
        </p:nvPicPr>
        <p:blipFill rotWithShape="1">
          <a:blip r:embed="rId8" cstate="print">
            <a:extLst>
              <a:ext uri="{28A0092B-C50C-407E-A947-70E740481C1C}">
                <a14:useLocalDpi xmlns:a14="http://schemas.microsoft.com/office/drawing/2010/main" val="0"/>
              </a:ext>
            </a:extLst>
          </a:blip>
          <a:srcRect/>
          <a:stretch/>
        </p:blipFill>
        <p:spPr>
          <a:xfrm>
            <a:off x="6188202" y="1413933"/>
            <a:ext cx="1719018" cy="4552496"/>
          </a:xfrm>
          <a:prstGeom prst="rect">
            <a:avLst/>
          </a:prstGeom>
        </p:spPr>
      </p:pic>
      <p:pic>
        <p:nvPicPr>
          <p:cNvPr id="35" name="Grafik 34">
            <a:extLst>
              <a:ext uri="{FF2B5EF4-FFF2-40B4-BE49-F238E27FC236}">
                <a16:creationId xmlns:a16="http://schemas.microsoft.com/office/drawing/2014/main" id="{8E5D079A-4335-4515-8B8A-93553C090362}"/>
              </a:ext>
            </a:extLst>
          </p:cNvPr>
          <p:cNvPicPr>
            <a:picLocks/>
          </p:cNvPicPr>
          <p:nvPr/>
        </p:nvPicPr>
        <p:blipFill rotWithShape="1">
          <a:blip r:embed="rId9" cstate="print">
            <a:extLst>
              <a:ext uri="{28A0092B-C50C-407E-A947-70E740481C1C}">
                <a14:useLocalDpi xmlns:a14="http://schemas.microsoft.com/office/drawing/2010/main" val="0"/>
              </a:ext>
            </a:extLst>
          </a:blip>
          <a:srcRect/>
          <a:stretch/>
        </p:blipFill>
        <p:spPr>
          <a:xfrm>
            <a:off x="8091408" y="1413933"/>
            <a:ext cx="1719018" cy="4552496"/>
          </a:xfrm>
          <a:prstGeom prst="rect">
            <a:avLst/>
          </a:prstGeom>
        </p:spPr>
      </p:pic>
      <p:sp>
        <p:nvSpPr>
          <p:cNvPr id="2" name="Titel 1">
            <a:extLst>
              <a:ext uri="{FF2B5EF4-FFF2-40B4-BE49-F238E27FC236}">
                <a16:creationId xmlns:a16="http://schemas.microsoft.com/office/drawing/2014/main" id="{6D1687A1-E5BE-4AD2-81DD-85D3962C5A62}"/>
              </a:ext>
            </a:extLst>
          </p:cNvPr>
          <p:cNvSpPr>
            <a:spLocks noGrp="1"/>
          </p:cNvSpPr>
          <p:nvPr>
            <p:ph type="title"/>
          </p:nvPr>
        </p:nvSpPr>
        <p:spPr/>
        <p:txBody>
          <a:bodyPr/>
          <a:lstStyle/>
          <a:p>
            <a:endParaRPr lang="de-DE" noProof="1"/>
          </a:p>
        </p:txBody>
      </p:sp>
      <p:cxnSp>
        <p:nvCxnSpPr>
          <p:cNvPr id="4" name="Gerader Verbinder 3">
            <a:extLst>
              <a:ext uri="{FF2B5EF4-FFF2-40B4-BE49-F238E27FC236}">
                <a16:creationId xmlns:a16="http://schemas.microsoft.com/office/drawing/2014/main" id="{43A1FC76-4AE7-409C-9641-0802D8879DFD}"/>
              </a:ext>
            </a:extLst>
          </p:cNvPr>
          <p:cNvCxnSpPr>
            <a:cxnSpLocks/>
          </p:cNvCxnSpPr>
          <p:nvPr/>
        </p:nvCxnSpPr>
        <p:spPr>
          <a:xfrm>
            <a:off x="479425" y="1412875"/>
            <a:ext cx="3259198" cy="11499"/>
          </a:xfrm>
          <a:prstGeom prst="line">
            <a:avLst/>
          </a:prstGeom>
          <a:ln w="28575">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84AFE9A9-643D-4849-98B3-02E17A8E1890}"/>
              </a:ext>
            </a:extLst>
          </p:cNvPr>
          <p:cNvSpPr txBox="1"/>
          <p:nvPr/>
        </p:nvSpPr>
        <p:spPr>
          <a:xfrm>
            <a:off x="488947" y="1549293"/>
            <a:ext cx="3249676" cy="3760773"/>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Nunc viverra imperdiet enim. </a:t>
            </a:r>
            <a:br>
              <a:rPr lang="de-DE" kern="1200" noProof="1">
                <a:solidFill>
                  <a:srgbClr val="000000"/>
                </a:solidFill>
                <a:latin typeface="+mn-lt"/>
                <a:ea typeface="+mn-ea"/>
                <a:cs typeface="+mn-cs"/>
              </a:rPr>
            </a:br>
            <a:r>
              <a:rPr lang="de-DE" kern="1200" noProof="1">
                <a:solidFill>
                  <a:srgbClr val="000000"/>
                </a:solidFill>
                <a:latin typeface="+mn-lt"/>
                <a:ea typeface="+mn-ea"/>
                <a:cs typeface="+mn-cs"/>
              </a:rPr>
              <a:t>Fusce est. Vivamus a tellus.</a:t>
            </a:r>
          </a:p>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Pellentesque habitant morbi tristique senectus et netus et malesuada fames ac turpis egestas. Proin pharetra nonummy pede. Mauris et orci.</a:t>
            </a:r>
          </a:p>
        </p:txBody>
      </p:sp>
      <p:sp>
        <p:nvSpPr>
          <p:cNvPr id="17" name="Textfeld 16">
            <a:extLst>
              <a:ext uri="{FF2B5EF4-FFF2-40B4-BE49-F238E27FC236}">
                <a16:creationId xmlns:a16="http://schemas.microsoft.com/office/drawing/2014/main" id="{1F255AEA-2C4A-4201-9583-B7FF01E72D06}"/>
              </a:ext>
            </a:extLst>
          </p:cNvPr>
          <p:cNvSpPr txBox="1"/>
          <p:nvPr/>
        </p:nvSpPr>
        <p:spPr>
          <a:xfrm>
            <a:off x="4284996" y="6093281"/>
            <a:ext cx="1558119" cy="215444"/>
          </a:xfrm>
          <a:prstGeom prst="rect">
            <a:avLst/>
          </a:prstGeom>
        </p:spPr>
        <p:txBody>
          <a:bodyPr vert="horz" wrap="none" lIns="0" tIns="0" rIns="0" bIns="0" rtlCol="0">
            <a:spAutoFit/>
          </a:bodyPr>
          <a:lstStyle/>
          <a:p>
            <a:pPr algn="l" defTabSz="914400" eaLnBrk="1" latinLnBrk="0" hangingPunct="1">
              <a:lnSpc>
                <a:spcPct val="100000"/>
              </a:lnSpc>
              <a:spcBef>
                <a:spcPts val="0"/>
              </a:spcBef>
              <a:spcAft>
                <a:spcPts val="600"/>
              </a:spcAft>
              <a:buClr>
                <a:schemeClr val="tx2"/>
              </a:buClr>
            </a:pPr>
            <a:r>
              <a:rPr lang="de-DE" sz="1400" noProof="1"/>
              <a:t>Pellentesque habitant</a:t>
            </a:r>
            <a:endParaRPr lang="de-DE" sz="1400" kern="1200" noProof="1">
              <a:solidFill>
                <a:schemeClr val="tx1"/>
              </a:solidFill>
            </a:endParaRPr>
          </a:p>
        </p:txBody>
      </p:sp>
      <p:sp>
        <p:nvSpPr>
          <p:cNvPr id="18" name="Textfeld 17">
            <a:extLst>
              <a:ext uri="{FF2B5EF4-FFF2-40B4-BE49-F238E27FC236}">
                <a16:creationId xmlns:a16="http://schemas.microsoft.com/office/drawing/2014/main" id="{FB666C62-CA66-4A2C-92E0-C41E2EA02ACA}"/>
              </a:ext>
            </a:extLst>
          </p:cNvPr>
          <p:cNvSpPr txBox="1"/>
          <p:nvPr/>
        </p:nvSpPr>
        <p:spPr>
          <a:xfrm>
            <a:off x="6188202" y="6093281"/>
            <a:ext cx="904350" cy="215444"/>
          </a:xfrm>
          <a:prstGeom prst="rect">
            <a:avLst/>
          </a:prstGeom>
        </p:spPr>
        <p:txBody>
          <a:bodyPr vert="horz" wrap="none" lIns="0" tIns="0" rIns="0" bIns="0" rtlCol="0">
            <a:spAutoFit/>
          </a:bodyPr>
          <a:lstStyle/>
          <a:p>
            <a:pPr algn="l" defTabSz="914400" eaLnBrk="1" latinLnBrk="0" hangingPunct="1">
              <a:lnSpc>
                <a:spcPct val="100000"/>
              </a:lnSpc>
              <a:spcBef>
                <a:spcPts val="0"/>
              </a:spcBef>
              <a:spcAft>
                <a:spcPts val="600"/>
              </a:spcAft>
              <a:buClr>
                <a:schemeClr val="tx2"/>
              </a:buClr>
            </a:pPr>
            <a:r>
              <a:rPr lang="de-DE" sz="1400" noProof="1"/>
              <a:t>Nunc viverra </a:t>
            </a:r>
            <a:endParaRPr lang="de-DE" sz="1400" kern="1200" noProof="1">
              <a:solidFill>
                <a:schemeClr val="tx1"/>
              </a:solidFill>
            </a:endParaRPr>
          </a:p>
        </p:txBody>
      </p:sp>
      <p:sp>
        <p:nvSpPr>
          <p:cNvPr id="19" name="Textfeld 18">
            <a:extLst>
              <a:ext uri="{FF2B5EF4-FFF2-40B4-BE49-F238E27FC236}">
                <a16:creationId xmlns:a16="http://schemas.microsoft.com/office/drawing/2014/main" id="{5B6C044D-2DEF-4E00-9B54-284C1B388F3E}"/>
              </a:ext>
            </a:extLst>
          </p:cNvPr>
          <p:cNvSpPr txBox="1"/>
          <p:nvPr/>
        </p:nvSpPr>
        <p:spPr>
          <a:xfrm>
            <a:off x="8091408" y="6093281"/>
            <a:ext cx="1609351" cy="215444"/>
          </a:xfrm>
          <a:prstGeom prst="rect">
            <a:avLst/>
          </a:prstGeom>
        </p:spPr>
        <p:txBody>
          <a:bodyPr vert="horz" wrap="none" lIns="0" tIns="0" rIns="0" bIns="0" rtlCol="0">
            <a:spAutoFit/>
          </a:bodyPr>
          <a:lstStyle/>
          <a:p>
            <a:pPr algn="l" defTabSz="914400" eaLnBrk="1" latinLnBrk="0" hangingPunct="1">
              <a:lnSpc>
                <a:spcPct val="100000"/>
              </a:lnSpc>
              <a:spcBef>
                <a:spcPts val="0"/>
              </a:spcBef>
              <a:spcAft>
                <a:spcPts val="600"/>
              </a:spcAft>
              <a:buClr>
                <a:schemeClr val="tx2"/>
              </a:buClr>
            </a:pPr>
            <a:r>
              <a:rPr lang="de-DE" sz="1400" noProof="1"/>
              <a:t>Fusce posuere magna </a:t>
            </a:r>
            <a:endParaRPr lang="de-DE" sz="1400" kern="1200" noProof="1">
              <a:solidFill>
                <a:schemeClr val="tx1"/>
              </a:solidFill>
            </a:endParaRPr>
          </a:p>
        </p:txBody>
      </p:sp>
      <p:sp>
        <p:nvSpPr>
          <p:cNvPr id="20" name="Textfeld 19">
            <a:extLst>
              <a:ext uri="{FF2B5EF4-FFF2-40B4-BE49-F238E27FC236}">
                <a16:creationId xmlns:a16="http://schemas.microsoft.com/office/drawing/2014/main" id="{AE8C43CB-0DEC-4453-8CAF-9EAFD6046C71}"/>
              </a:ext>
            </a:extLst>
          </p:cNvPr>
          <p:cNvSpPr txBox="1"/>
          <p:nvPr/>
        </p:nvSpPr>
        <p:spPr>
          <a:xfrm>
            <a:off x="9994613" y="6093281"/>
            <a:ext cx="1033103" cy="215444"/>
          </a:xfrm>
          <a:prstGeom prst="rect">
            <a:avLst/>
          </a:prstGeom>
        </p:spPr>
        <p:txBody>
          <a:bodyPr vert="horz" wrap="none" lIns="0" tIns="0" rIns="0" bIns="0" rtlCol="0">
            <a:spAutoFit/>
          </a:bodyPr>
          <a:lstStyle/>
          <a:p>
            <a:pPr algn="l" defTabSz="914400" eaLnBrk="1" latinLnBrk="0" hangingPunct="1">
              <a:lnSpc>
                <a:spcPct val="100000"/>
              </a:lnSpc>
              <a:spcBef>
                <a:spcPts val="0"/>
              </a:spcBef>
              <a:spcAft>
                <a:spcPts val="600"/>
              </a:spcAft>
              <a:buClr>
                <a:schemeClr val="tx2"/>
              </a:buClr>
            </a:pPr>
            <a:r>
              <a:rPr lang="de-DE" sz="1400" noProof="1"/>
              <a:t>Proin pharetra</a:t>
            </a:r>
            <a:endParaRPr lang="de-DE" sz="1400" kern="1200" noProof="1">
              <a:solidFill>
                <a:schemeClr val="tx1"/>
              </a:solidFill>
            </a:endParaRPr>
          </a:p>
        </p:txBody>
      </p:sp>
      <p:sp>
        <p:nvSpPr>
          <p:cNvPr id="29" name="AutoShape 2">
            <a:extLst>
              <a:ext uri="{FF2B5EF4-FFF2-40B4-BE49-F238E27FC236}">
                <a16:creationId xmlns:a16="http://schemas.microsoft.com/office/drawing/2014/main" id="{7AEB4983-4C58-4DD2-AB94-E7E9A3BF99C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noProof="1"/>
          </a:p>
        </p:txBody>
      </p:sp>
    </p:spTree>
    <p:extLst>
      <p:ext uri="{BB962C8B-B14F-4D97-AF65-F5344CB8AC3E}">
        <p14:creationId xmlns:p14="http://schemas.microsoft.com/office/powerpoint/2010/main" val="3389053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kt 39" hidden="1">
            <a:extLst>
              <a:ext uri="{FF2B5EF4-FFF2-40B4-BE49-F238E27FC236}">
                <a16:creationId xmlns:a16="http://schemas.microsoft.com/office/drawing/2014/main" id="{E0185719-BA0D-4E9F-8FD3-E2597A320281}"/>
              </a:ext>
            </a:extLst>
          </p:cNvPr>
          <p:cNvGraphicFramePr>
            <a:graphicFrameLocks noChangeAspect="1"/>
          </p:cNvGraphicFramePr>
          <p:nvPr>
            <p:custDataLst>
              <p:tags r:id="rId1"/>
            </p:custDataLst>
            <p:extLst>
              <p:ext uri="{D42A27DB-BD31-4B8C-83A1-F6EECF244321}">
                <p14:modId xmlns:p14="http://schemas.microsoft.com/office/powerpoint/2010/main" val="4104834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0" name="Objekt 39" hidden="1">
                        <a:extLst>
                          <a:ext uri="{FF2B5EF4-FFF2-40B4-BE49-F238E27FC236}">
                            <a16:creationId xmlns:a16="http://schemas.microsoft.com/office/drawing/2014/main" id="{E0185719-BA0D-4E9F-8FD3-E2597A320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Textfeld 40">
            <a:extLst>
              <a:ext uri="{FF2B5EF4-FFF2-40B4-BE49-F238E27FC236}">
                <a16:creationId xmlns:a16="http://schemas.microsoft.com/office/drawing/2014/main" id="{EC4926DD-4CC6-4735-9FE8-4883C11B40B0}"/>
              </a:ext>
            </a:extLst>
          </p:cNvPr>
          <p:cNvSpPr txBox="1">
            <a:spLocks/>
          </p:cNvSpPr>
          <p:nvPr/>
        </p:nvSpPr>
        <p:spPr>
          <a:xfrm>
            <a:off x="4138254" y="1412875"/>
            <a:ext cx="7574321" cy="4895850"/>
          </a:xfrm>
          <a:prstGeom prst="rect">
            <a:avLst/>
          </a:prstGeom>
          <a:gradFill>
            <a:gsLst>
              <a:gs pos="29000">
                <a:schemeClr val="tx2"/>
              </a:gs>
              <a:gs pos="100000">
                <a:srgbClr val="4F8B9B"/>
              </a:gs>
            </a:gsLst>
            <a:lin ang="2700000" scaled="0"/>
          </a:gradFill>
        </p:spPr>
        <p:txBody>
          <a:bodyPr wrap="square" lIns="1152000" rIns="1152000" anchor="ctr" anchorCtr="0">
            <a:noAutofit/>
          </a:bodyPr>
          <a:lstStyle/>
          <a:p>
            <a:pPr algn="l" defTabSz="914400" eaLnBrk="1" latinLnBrk="0" hangingPunct="1">
              <a:lnSpc>
                <a:spcPct val="93000"/>
              </a:lnSpc>
              <a:spcBef>
                <a:spcPts val="0"/>
              </a:spcBef>
              <a:spcAft>
                <a:spcPts val="600"/>
              </a:spcAft>
              <a:buClr>
                <a:schemeClr val="tx2"/>
              </a:buClr>
            </a:pPr>
            <a:endParaRPr lang="de-DE" sz="2400" kern="1200" noProof="1">
              <a:solidFill>
                <a:schemeClr val="bg1"/>
              </a:solidFill>
              <a:latin typeface="Arial" panose="020B0604020202020204" pitchFamily="34" charset="0"/>
              <a:ea typeface="+mn-ea"/>
              <a:cs typeface="+mn-cs"/>
            </a:endParaRPr>
          </a:p>
        </p:txBody>
      </p:sp>
      <p:sp>
        <p:nvSpPr>
          <p:cNvPr id="2" name="Titel 1">
            <a:extLst>
              <a:ext uri="{FF2B5EF4-FFF2-40B4-BE49-F238E27FC236}">
                <a16:creationId xmlns:a16="http://schemas.microsoft.com/office/drawing/2014/main" id="{BC9D0DA1-7F10-4AB5-A20D-C1502066494D}"/>
              </a:ext>
            </a:extLst>
          </p:cNvPr>
          <p:cNvSpPr>
            <a:spLocks noGrp="1"/>
          </p:cNvSpPr>
          <p:nvPr>
            <p:ph type="title"/>
          </p:nvPr>
        </p:nvSpPr>
        <p:spPr/>
        <p:txBody>
          <a:bodyPr/>
          <a:lstStyle/>
          <a:p>
            <a:endParaRPr lang="de-DE" noProof="1"/>
          </a:p>
        </p:txBody>
      </p:sp>
      <p:grpSp>
        <p:nvGrpSpPr>
          <p:cNvPr id="4" name="Gruppieren 3">
            <a:extLst>
              <a:ext uri="{FF2B5EF4-FFF2-40B4-BE49-F238E27FC236}">
                <a16:creationId xmlns:a16="http://schemas.microsoft.com/office/drawing/2014/main" id="{7FF1A355-7864-498F-B43C-A028B6C6A067}"/>
              </a:ext>
            </a:extLst>
          </p:cNvPr>
          <p:cNvGrpSpPr/>
          <p:nvPr/>
        </p:nvGrpSpPr>
        <p:grpSpPr>
          <a:xfrm>
            <a:off x="4760017" y="1885077"/>
            <a:ext cx="6330795" cy="3951446"/>
            <a:chOff x="4742419" y="1729632"/>
            <a:chExt cx="6330795" cy="3951446"/>
          </a:xfrm>
        </p:grpSpPr>
        <p:grpSp>
          <p:nvGrpSpPr>
            <p:cNvPr id="10" name="object 4">
              <a:extLst>
                <a:ext uri="{FF2B5EF4-FFF2-40B4-BE49-F238E27FC236}">
                  <a16:creationId xmlns:a16="http://schemas.microsoft.com/office/drawing/2014/main" id="{D2A75EFE-6606-4EFA-994A-F2B9D1E2FEE1}"/>
                </a:ext>
              </a:extLst>
            </p:cNvPr>
            <p:cNvGrpSpPr/>
            <p:nvPr/>
          </p:nvGrpSpPr>
          <p:grpSpPr>
            <a:xfrm>
              <a:off x="5257291" y="2573854"/>
              <a:ext cx="5470525" cy="1929130"/>
              <a:chOff x="4027205" y="2040455"/>
              <a:chExt cx="5470525" cy="1929130"/>
            </a:xfrm>
          </p:grpSpPr>
          <p:sp>
            <p:nvSpPr>
              <p:cNvPr id="11" name="object 5">
                <a:extLst>
                  <a:ext uri="{FF2B5EF4-FFF2-40B4-BE49-F238E27FC236}">
                    <a16:creationId xmlns:a16="http://schemas.microsoft.com/office/drawing/2014/main" id="{3529C876-F7EB-414C-B1DD-D424958CE49F}"/>
                  </a:ext>
                </a:extLst>
              </p:cNvPr>
              <p:cNvSpPr/>
              <p:nvPr/>
            </p:nvSpPr>
            <p:spPr>
              <a:xfrm>
                <a:off x="4055952" y="2429629"/>
                <a:ext cx="5412740" cy="463550"/>
              </a:xfrm>
              <a:custGeom>
                <a:avLst/>
                <a:gdLst/>
                <a:ahLst/>
                <a:cxnLst/>
                <a:rect l="l" t="t" r="r" b="b"/>
                <a:pathLst>
                  <a:path w="5412740" h="463550">
                    <a:moveTo>
                      <a:pt x="0" y="424091"/>
                    </a:moveTo>
                    <a:lnTo>
                      <a:pt x="0" y="0"/>
                    </a:lnTo>
                    <a:lnTo>
                      <a:pt x="5412613" y="0"/>
                    </a:lnTo>
                    <a:lnTo>
                      <a:pt x="5412613" y="463194"/>
                    </a:lnTo>
                  </a:path>
                </a:pathLst>
              </a:custGeom>
              <a:ln w="11493">
                <a:solidFill>
                  <a:schemeClr val="bg1"/>
                </a:solidFill>
              </a:ln>
            </p:spPr>
            <p:txBody>
              <a:bodyPr wrap="square" lIns="0" tIns="0" rIns="0" bIns="0" rtlCol="0"/>
              <a:lstStyle/>
              <a:p>
                <a:endParaRPr lang="de-DE" noProof="1"/>
              </a:p>
            </p:txBody>
          </p:sp>
          <p:sp>
            <p:nvSpPr>
              <p:cNvPr id="12" name="object 6">
                <a:extLst>
                  <a:ext uri="{FF2B5EF4-FFF2-40B4-BE49-F238E27FC236}">
                    <a16:creationId xmlns:a16="http://schemas.microsoft.com/office/drawing/2014/main" id="{539DAA7A-E0F9-47BA-918E-57B787CE5C92}"/>
                  </a:ext>
                </a:extLst>
              </p:cNvPr>
              <p:cNvSpPr/>
              <p:nvPr/>
            </p:nvSpPr>
            <p:spPr>
              <a:xfrm>
                <a:off x="4032952" y="2853721"/>
                <a:ext cx="46355" cy="46355"/>
              </a:xfrm>
              <a:custGeom>
                <a:avLst/>
                <a:gdLst/>
                <a:ahLst/>
                <a:cxnLst/>
                <a:rect l="l" t="t" r="r" b="b"/>
                <a:pathLst>
                  <a:path w="46354" h="46355">
                    <a:moveTo>
                      <a:pt x="22999" y="45986"/>
                    </a:moveTo>
                    <a:lnTo>
                      <a:pt x="31951" y="44178"/>
                    </a:lnTo>
                    <a:lnTo>
                      <a:pt x="39262" y="39249"/>
                    </a:lnTo>
                    <a:lnTo>
                      <a:pt x="44191" y="31938"/>
                    </a:lnTo>
                    <a:lnTo>
                      <a:pt x="45999" y="22987"/>
                    </a:lnTo>
                    <a:lnTo>
                      <a:pt x="44191" y="14037"/>
                    </a:lnTo>
                    <a:lnTo>
                      <a:pt x="39262" y="6731"/>
                    </a:lnTo>
                    <a:lnTo>
                      <a:pt x="31951" y="1805"/>
                    </a:lnTo>
                    <a:lnTo>
                      <a:pt x="22999" y="0"/>
                    </a:lnTo>
                    <a:lnTo>
                      <a:pt x="14048" y="1805"/>
                    </a:lnTo>
                    <a:lnTo>
                      <a:pt x="6737" y="6731"/>
                    </a:lnTo>
                    <a:lnTo>
                      <a:pt x="1807" y="14037"/>
                    </a:lnTo>
                    <a:lnTo>
                      <a:pt x="0" y="22987"/>
                    </a:lnTo>
                    <a:lnTo>
                      <a:pt x="1807" y="31938"/>
                    </a:lnTo>
                    <a:lnTo>
                      <a:pt x="6737" y="39249"/>
                    </a:lnTo>
                    <a:lnTo>
                      <a:pt x="14048" y="44178"/>
                    </a:lnTo>
                    <a:lnTo>
                      <a:pt x="22999" y="45986"/>
                    </a:lnTo>
                    <a:close/>
                  </a:path>
                </a:pathLst>
              </a:custGeom>
              <a:ln w="11493">
                <a:solidFill>
                  <a:schemeClr val="bg1"/>
                </a:solidFill>
              </a:ln>
            </p:spPr>
            <p:txBody>
              <a:bodyPr wrap="square" lIns="0" tIns="0" rIns="0" bIns="0" rtlCol="0"/>
              <a:lstStyle/>
              <a:p>
                <a:endParaRPr lang="de-DE" noProof="1"/>
              </a:p>
            </p:txBody>
          </p:sp>
          <p:sp>
            <p:nvSpPr>
              <p:cNvPr id="13" name="object 7">
                <a:extLst>
                  <a:ext uri="{FF2B5EF4-FFF2-40B4-BE49-F238E27FC236}">
                    <a16:creationId xmlns:a16="http://schemas.microsoft.com/office/drawing/2014/main" id="{B3332A1B-9D9F-4739-9747-C7EBC964D03A}"/>
                  </a:ext>
                </a:extLst>
              </p:cNvPr>
              <p:cNvSpPr/>
              <p:nvPr/>
            </p:nvSpPr>
            <p:spPr>
              <a:xfrm>
                <a:off x="9445564" y="2892826"/>
                <a:ext cx="46355" cy="46355"/>
              </a:xfrm>
              <a:custGeom>
                <a:avLst/>
                <a:gdLst/>
                <a:ahLst/>
                <a:cxnLst/>
                <a:rect l="l" t="t" r="r" b="b"/>
                <a:pathLst>
                  <a:path w="46354" h="46355">
                    <a:moveTo>
                      <a:pt x="22999" y="45986"/>
                    </a:moveTo>
                    <a:lnTo>
                      <a:pt x="31951" y="44178"/>
                    </a:lnTo>
                    <a:lnTo>
                      <a:pt x="39262" y="39249"/>
                    </a:lnTo>
                    <a:lnTo>
                      <a:pt x="44191" y="31938"/>
                    </a:lnTo>
                    <a:lnTo>
                      <a:pt x="45999" y="22987"/>
                    </a:lnTo>
                    <a:lnTo>
                      <a:pt x="44191" y="14037"/>
                    </a:lnTo>
                    <a:lnTo>
                      <a:pt x="39262" y="6731"/>
                    </a:lnTo>
                    <a:lnTo>
                      <a:pt x="31951" y="1805"/>
                    </a:lnTo>
                    <a:lnTo>
                      <a:pt x="22999" y="0"/>
                    </a:lnTo>
                    <a:lnTo>
                      <a:pt x="14048" y="1805"/>
                    </a:lnTo>
                    <a:lnTo>
                      <a:pt x="6737" y="6731"/>
                    </a:lnTo>
                    <a:lnTo>
                      <a:pt x="1807" y="14037"/>
                    </a:lnTo>
                    <a:lnTo>
                      <a:pt x="0" y="22987"/>
                    </a:lnTo>
                    <a:lnTo>
                      <a:pt x="1807" y="31938"/>
                    </a:lnTo>
                    <a:lnTo>
                      <a:pt x="6737" y="39249"/>
                    </a:lnTo>
                    <a:lnTo>
                      <a:pt x="14048" y="44178"/>
                    </a:lnTo>
                    <a:lnTo>
                      <a:pt x="22999" y="45986"/>
                    </a:lnTo>
                    <a:close/>
                  </a:path>
                </a:pathLst>
              </a:custGeom>
              <a:ln w="11493">
                <a:solidFill>
                  <a:schemeClr val="bg1"/>
                </a:solidFill>
              </a:ln>
            </p:spPr>
            <p:txBody>
              <a:bodyPr wrap="square" lIns="0" tIns="0" rIns="0" bIns="0" rtlCol="0"/>
              <a:lstStyle/>
              <a:p>
                <a:endParaRPr lang="de-DE" noProof="1"/>
              </a:p>
            </p:txBody>
          </p:sp>
          <p:sp>
            <p:nvSpPr>
              <p:cNvPr id="14" name="object 8">
                <a:extLst>
                  <a:ext uri="{FF2B5EF4-FFF2-40B4-BE49-F238E27FC236}">
                    <a16:creationId xmlns:a16="http://schemas.microsoft.com/office/drawing/2014/main" id="{A4D078BC-6D2A-4EC2-AB83-CF536E456DFE}"/>
                  </a:ext>
                </a:extLst>
              </p:cNvPr>
              <p:cNvSpPr/>
              <p:nvPr/>
            </p:nvSpPr>
            <p:spPr>
              <a:xfrm>
                <a:off x="5612770" y="2423892"/>
                <a:ext cx="0" cy="1493520"/>
              </a:xfrm>
              <a:custGeom>
                <a:avLst/>
                <a:gdLst/>
                <a:ahLst/>
                <a:cxnLst/>
                <a:rect l="l" t="t" r="r" b="b"/>
                <a:pathLst>
                  <a:path h="1493520">
                    <a:moveTo>
                      <a:pt x="0" y="0"/>
                    </a:moveTo>
                    <a:lnTo>
                      <a:pt x="0" y="1493342"/>
                    </a:lnTo>
                  </a:path>
                </a:pathLst>
              </a:custGeom>
              <a:ln w="11493">
                <a:solidFill>
                  <a:schemeClr val="bg1"/>
                </a:solidFill>
              </a:ln>
            </p:spPr>
            <p:txBody>
              <a:bodyPr wrap="square" lIns="0" tIns="0" rIns="0" bIns="0" rtlCol="0"/>
              <a:lstStyle/>
              <a:p>
                <a:endParaRPr lang="de-DE" noProof="1"/>
              </a:p>
            </p:txBody>
          </p:sp>
          <p:sp>
            <p:nvSpPr>
              <p:cNvPr id="15" name="object 9">
                <a:extLst>
                  <a:ext uri="{FF2B5EF4-FFF2-40B4-BE49-F238E27FC236}">
                    <a16:creationId xmlns:a16="http://schemas.microsoft.com/office/drawing/2014/main" id="{88BC167B-0841-4293-865E-6B8A6C8070A8}"/>
                  </a:ext>
                </a:extLst>
              </p:cNvPr>
              <p:cNvSpPr/>
              <p:nvPr/>
            </p:nvSpPr>
            <p:spPr>
              <a:xfrm>
                <a:off x="5589770" y="3917236"/>
                <a:ext cx="46355" cy="46355"/>
              </a:xfrm>
              <a:custGeom>
                <a:avLst/>
                <a:gdLst/>
                <a:ahLst/>
                <a:cxnLst/>
                <a:rect l="l" t="t" r="r" b="b"/>
                <a:pathLst>
                  <a:path w="46354" h="46354">
                    <a:moveTo>
                      <a:pt x="22999" y="45986"/>
                    </a:moveTo>
                    <a:lnTo>
                      <a:pt x="31951" y="44178"/>
                    </a:lnTo>
                    <a:lnTo>
                      <a:pt x="39262" y="39249"/>
                    </a:lnTo>
                    <a:lnTo>
                      <a:pt x="44191" y="31938"/>
                    </a:lnTo>
                    <a:lnTo>
                      <a:pt x="45999" y="22986"/>
                    </a:lnTo>
                    <a:lnTo>
                      <a:pt x="44191" y="14037"/>
                    </a:lnTo>
                    <a:lnTo>
                      <a:pt x="39262" y="6730"/>
                    </a:lnTo>
                    <a:lnTo>
                      <a:pt x="31951" y="1805"/>
                    </a:lnTo>
                    <a:lnTo>
                      <a:pt x="22999" y="0"/>
                    </a:lnTo>
                    <a:lnTo>
                      <a:pt x="14048" y="1805"/>
                    </a:lnTo>
                    <a:lnTo>
                      <a:pt x="6737" y="6730"/>
                    </a:lnTo>
                    <a:lnTo>
                      <a:pt x="1807" y="14037"/>
                    </a:lnTo>
                    <a:lnTo>
                      <a:pt x="0" y="22986"/>
                    </a:lnTo>
                    <a:lnTo>
                      <a:pt x="1807" y="31938"/>
                    </a:lnTo>
                    <a:lnTo>
                      <a:pt x="6737" y="39249"/>
                    </a:lnTo>
                    <a:lnTo>
                      <a:pt x="14048" y="44178"/>
                    </a:lnTo>
                    <a:lnTo>
                      <a:pt x="22999" y="45986"/>
                    </a:lnTo>
                    <a:close/>
                  </a:path>
                </a:pathLst>
              </a:custGeom>
              <a:ln w="11493">
                <a:solidFill>
                  <a:schemeClr val="bg1"/>
                </a:solidFill>
              </a:ln>
            </p:spPr>
            <p:txBody>
              <a:bodyPr wrap="square" lIns="0" tIns="0" rIns="0" bIns="0" rtlCol="0"/>
              <a:lstStyle/>
              <a:p>
                <a:endParaRPr lang="de-DE" noProof="1"/>
              </a:p>
            </p:txBody>
          </p:sp>
          <p:sp>
            <p:nvSpPr>
              <p:cNvPr id="16" name="object 10">
                <a:extLst>
                  <a:ext uri="{FF2B5EF4-FFF2-40B4-BE49-F238E27FC236}">
                    <a16:creationId xmlns:a16="http://schemas.microsoft.com/office/drawing/2014/main" id="{6BC6FEFE-73E3-4687-A907-F24EA5CB42E4}"/>
                  </a:ext>
                </a:extLst>
              </p:cNvPr>
              <p:cNvSpPr/>
              <p:nvPr/>
            </p:nvSpPr>
            <p:spPr>
              <a:xfrm>
                <a:off x="6733516" y="2040455"/>
                <a:ext cx="0" cy="656590"/>
              </a:xfrm>
              <a:custGeom>
                <a:avLst/>
                <a:gdLst/>
                <a:ahLst/>
                <a:cxnLst/>
                <a:rect l="l" t="t" r="r" b="b"/>
                <a:pathLst>
                  <a:path h="656589">
                    <a:moveTo>
                      <a:pt x="0" y="0"/>
                    </a:moveTo>
                    <a:lnTo>
                      <a:pt x="0" y="656209"/>
                    </a:lnTo>
                  </a:path>
                </a:pathLst>
              </a:custGeom>
              <a:ln w="11493">
                <a:solidFill>
                  <a:schemeClr val="bg1"/>
                </a:solidFill>
              </a:ln>
            </p:spPr>
            <p:txBody>
              <a:bodyPr wrap="square" lIns="0" tIns="0" rIns="0" bIns="0" rtlCol="0"/>
              <a:lstStyle/>
              <a:p>
                <a:endParaRPr lang="de-DE" noProof="1"/>
              </a:p>
            </p:txBody>
          </p:sp>
          <p:sp>
            <p:nvSpPr>
              <p:cNvPr id="17" name="object 11">
                <a:extLst>
                  <a:ext uri="{FF2B5EF4-FFF2-40B4-BE49-F238E27FC236}">
                    <a16:creationId xmlns:a16="http://schemas.microsoft.com/office/drawing/2014/main" id="{71D2A285-54CA-4084-B018-FAEEB352FA16}"/>
                  </a:ext>
                </a:extLst>
              </p:cNvPr>
              <p:cNvSpPr/>
              <p:nvPr/>
            </p:nvSpPr>
            <p:spPr>
              <a:xfrm>
                <a:off x="6710516" y="2696671"/>
                <a:ext cx="46355" cy="46355"/>
              </a:xfrm>
              <a:custGeom>
                <a:avLst/>
                <a:gdLst/>
                <a:ahLst/>
                <a:cxnLst/>
                <a:rect l="l" t="t" r="r" b="b"/>
                <a:pathLst>
                  <a:path w="46354" h="46355">
                    <a:moveTo>
                      <a:pt x="22999" y="45986"/>
                    </a:moveTo>
                    <a:lnTo>
                      <a:pt x="31951" y="44178"/>
                    </a:lnTo>
                    <a:lnTo>
                      <a:pt x="39262" y="39249"/>
                    </a:lnTo>
                    <a:lnTo>
                      <a:pt x="44191" y="31938"/>
                    </a:lnTo>
                    <a:lnTo>
                      <a:pt x="45999" y="22986"/>
                    </a:lnTo>
                    <a:lnTo>
                      <a:pt x="44191" y="14037"/>
                    </a:lnTo>
                    <a:lnTo>
                      <a:pt x="39262" y="6730"/>
                    </a:lnTo>
                    <a:lnTo>
                      <a:pt x="31951" y="1805"/>
                    </a:lnTo>
                    <a:lnTo>
                      <a:pt x="22999" y="0"/>
                    </a:lnTo>
                    <a:lnTo>
                      <a:pt x="14048" y="1805"/>
                    </a:lnTo>
                    <a:lnTo>
                      <a:pt x="6737" y="6730"/>
                    </a:lnTo>
                    <a:lnTo>
                      <a:pt x="1807" y="14037"/>
                    </a:lnTo>
                    <a:lnTo>
                      <a:pt x="0" y="22986"/>
                    </a:lnTo>
                    <a:lnTo>
                      <a:pt x="1807" y="31938"/>
                    </a:lnTo>
                    <a:lnTo>
                      <a:pt x="6737" y="39249"/>
                    </a:lnTo>
                    <a:lnTo>
                      <a:pt x="14048" y="44178"/>
                    </a:lnTo>
                    <a:lnTo>
                      <a:pt x="22999" y="45986"/>
                    </a:lnTo>
                    <a:close/>
                  </a:path>
                </a:pathLst>
              </a:custGeom>
              <a:ln w="11493">
                <a:solidFill>
                  <a:schemeClr val="bg1"/>
                </a:solidFill>
              </a:ln>
            </p:spPr>
            <p:txBody>
              <a:bodyPr wrap="square" lIns="0" tIns="0" rIns="0" bIns="0" rtlCol="0"/>
              <a:lstStyle/>
              <a:p>
                <a:endParaRPr lang="de-DE" noProof="1"/>
              </a:p>
            </p:txBody>
          </p:sp>
          <p:sp>
            <p:nvSpPr>
              <p:cNvPr id="18" name="object 12">
                <a:extLst>
                  <a:ext uri="{FF2B5EF4-FFF2-40B4-BE49-F238E27FC236}">
                    <a16:creationId xmlns:a16="http://schemas.microsoft.com/office/drawing/2014/main" id="{1EFA2897-E1E1-4A51-A1C4-7C8160764720}"/>
                  </a:ext>
                </a:extLst>
              </p:cNvPr>
              <p:cNvSpPr/>
              <p:nvPr/>
            </p:nvSpPr>
            <p:spPr>
              <a:xfrm>
                <a:off x="7763808" y="2423886"/>
                <a:ext cx="0" cy="1493520"/>
              </a:xfrm>
              <a:custGeom>
                <a:avLst/>
                <a:gdLst/>
                <a:ahLst/>
                <a:cxnLst/>
                <a:rect l="l" t="t" r="r" b="b"/>
                <a:pathLst>
                  <a:path h="1493520">
                    <a:moveTo>
                      <a:pt x="0" y="0"/>
                    </a:moveTo>
                    <a:lnTo>
                      <a:pt x="0" y="1493342"/>
                    </a:lnTo>
                  </a:path>
                </a:pathLst>
              </a:custGeom>
              <a:ln w="11493">
                <a:solidFill>
                  <a:schemeClr val="bg1"/>
                </a:solidFill>
              </a:ln>
            </p:spPr>
            <p:txBody>
              <a:bodyPr wrap="square" lIns="0" tIns="0" rIns="0" bIns="0" rtlCol="0"/>
              <a:lstStyle/>
              <a:p>
                <a:endParaRPr lang="de-DE" noProof="1"/>
              </a:p>
            </p:txBody>
          </p:sp>
          <p:sp>
            <p:nvSpPr>
              <p:cNvPr id="19" name="object 13">
                <a:extLst>
                  <a:ext uri="{FF2B5EF4-FFF2-40B4-BE49-F238E27FC236}">
                    <a16:creationId xmlns:a16="http://schemas.microsoft.com/office/drawing/2014/main" id="{205B499F-E909-4383-8FA1-4A716E57DFE7}"/>
                  </a:ext>
                </a:extLst>
              </p:cNvPr>
              <p:cNvSpPr/>
              <p:nvPr/>
            </p:nvSpPr>
            <p:spPr>
              <a:xfrm>
                <a:off x="7740808" y="3917236"/>
                <a:ext cx="46355" cy="46355"/>
              </a:xfrm>
              <a:custGeom>
                <a:avLst/>
                <a:gdLst/>
                <a:ahLst/>
                <a:cxnLst/>
                <a:rect l="l" t="t" r="r" b="b"/>
                <a:pathLst>
                  <a:path w="46354" h="46354">
                    <a:moveTo>
                      <a:pt x="22999" y="45986"/>
                    </a:moveTo>
                    <a:lnTo>
                      <a:pt x="31951" y="44178"/>
                    </a:lnTo>
                    <a:lnTo>
                      <a:pt x="39262" y="39249"/>
                    </a:lnTo>
                    <a:lnTo>
                      <a:pt x="44191" y="31938"/>
                    </a:lnTo>
                    <a:lnTo>
                      <a:pt x="45999" y="22986"/>
                    </a:lnTo>
                    <a:lnTo>
                      <a:pt x="44191" y="14037"/>
                    </a:lnTo>
                    <a:lnTo>
                      <a:pt x="39262" y="6730"/>
                    </a:lnTo>
                    <a:lnTo>
                      <a:pt x="31951" y="1805"/>
                    </a:lnTo>
                    <a:lnTo>
                      <a:pt x="22999" y="0"/>
                    </a:lnTo>
                    <a:lnTo>
                      <a:pt x="14048" y="1805"/>
                    </a:lnTo>
                    <a:lnTo>
                      <a:pt x="6737" y="6730"/>
                    </a:lnTo>
                    <a:lnTo>
                      <a:pt x="1807" y="14037"/>
                    </a:lnTo>
                    <a:lnTo>
                      <a:pt x="0" y="22986"/>
                    </a:lnTo>
                    <a:lnTo>
                      <a:pt x="1807" y="31938"/>
                    </a:lnTo>
                    <a:lnTo>
                      <a:pt x="6737" y="39249"/>
                    </a:lnTo>
                    <a:lnTo>
                      <a:pt x="14048" y="44178"/>
                    </a:lnTo>
                    <a:lnTo>
                      <a:pt x="22999" y="45986"/>
                    </a:lnTo>
                    <a:close/>
                  </a:path>
                </a:pathLst>
              </a:custGeom>
              <a:ln w="11493">
                <a:solidFill>
                  <a:schemeClr val="bg1"/>
                </a:solidFill>
              </a:ln>
            </p:spPr>
            <p:txBody>
              <a:bodyPr wrap="square" lIns="0" tIns="0" rIns="0" bIns="0" rtlCol="0"/>
              <a:lstStyle/>
              <a:p>
                <a:endParaRPr lang="de-DE" noProof="1"/>
              </a:p>
            </p:txBody>
          </p:sp>
        </p:grpSp>
        <p:grpSp>
          <p:nvGrpSpPr>
            <p:cNvPr id="20" name="object 14">
              <a:extLst>
                <a:ext uri="{FF2B5EF4-FFF2-40B4-BE49-F238E27FC236}">
                  <a16:creationId xmlns:a16="http://schemas.microsoft.com/office/drawing/2014/main" id="{EDB1EA97-0747-4CDC-A622-69B9D0927609}"/>
                </a:ext>
              </a:extLst>
            </p:cNvPr>
            <p:cNvGrpSpPr/>
            <p:nvPr/>
          </p:nvGrpSpPr>
          <p:grpSpPr>
            <a:xfrm>
              <a:off x="6106234" y="4793179"/>
              <a:ext cx="1416050" cy="467491"/>
              <a:chOff x="4876148" y="4259780"/>
              <a:chExt cx="1416050" cy="467491"/>
            </a:xfrm>
          </p:grpSpPr>
          <p:sp>
            <p:nvSpPr>
              <p:cNvPr id="21" name="object 15">
                <a:extLst>
                  <a:ext uri="{FF2B5EF4-FFF2-40B4-BE49-F238E27FC236}">
                    <a16:creationId xmlns:a16="http://schemas.microsoft.com/office/drawing/2014/main" id="{58A347C0-0226-4B73-A5D1-B5CFEF0ED8B5}"/>
                  </a:ext>
                </a:extLst>
              </p:cNvPr>
              <p:cNvSpPr/>
              <p:nvPr/>
            </p:nvSpPr>
            <p:spPr>
              <a:xfrm>
                <a:off x="4876148" y="4259780"/>
                <a:ext cx="1416050" cy="233679"/>
              </a:xfrm>
              <a:custGeom>
                <a:avLst/>
                <a:gdLst/>
                <a:ahLst/>
                <a:cxnLst/>
                <a:rect l="l" t="t" r="r" b="b"/>
                <a:pathLst>
                  <a:path w="1416050" h="233679">
                    <a:moveTo>
                      <a:pt x="1170520" y="0"/>
                    </a:moveTo>
                    <a:lnTo>
                      <a:pt x="446087" y="132676"/>
                    </a:lnTo>
                    <a:lnTo>
                      <a:pt x="0" y="213842"/>
                    </a:lnTo>
                    <a:lnTo>
                      <a:pt x="0" y="233159"/>
                    </a:lnTo>
                    <a:lnTo>
                      <a:pt x="1170520" y="25400"/>
                    </a:lnTo>
                    <a:lnTo>
                      <a:pt x="1415757" y="163144"/>
                    </a:lnTo>
                    <a:lnTo>
                      <a:pt x="1415757" y="146240"/>
                    </a:lnTo>
                    <a:lnTo>
                      <a:pt x="1170520" y="0"/>
                    </a:lnTo>
                    <a:close/>
                  </a:path>
                </a:pathLst>
              </a:custGeom>
              <a:solidFill>
                <a:srgbClr val="FFFFFF"/>
              </a:solidFill>
              <a:ln>
                <a:solidFill>
                  <a:schemeClr val="bg1"/>
                </a:solidFill>
              </a:ln>
            </p:spPr>
            <p:txBody>
              <a:bodyPr wrap="square" lIns="0" tIns="0" rIns="0" bIns="0" rtlCol="0"/>
              <a:lstStyle/>
              <a:p>
                <a:endParaRPr lang="de-DE" noProof="1"/>
              </a:p>
            </p:txBody>
          </p:sp>
          <p:sp>
            <p:nvSpPr>
              <p:cNvPr id="23" name="object 17">
                <a:extLst>
                  <a:ext uri="{FF2B5EF4-FFF2-40B4-BE49-F238E27FC236}">
                    <a16:creationId xmlns:a16="http://schemas.microsoft.com/office/drawing/2014/main" id="{3BB6B9A1-63DD-45EB-8804-75486BB96F03}"/>
                  </a:ext>
                </a:extLst>
              </p:cNvPr>
              <p:cNvSpPr/>
              <p:nvPr/>
            </p:nvSpPr>
            <p:spPr>
              <a:xfrm>
                <a:off x="4877210" y="4391991"/>
                <a:ext cx="1413510" cy="335280"/>
              </a:xfrm>
              <a:custGeom>
                <a:avLst/>
                <a:gdLst/>
                <a:ahLst/>
                <a:cxnLst/>
                <a:rect l="l" t="t" r="r" b="b"/>
                <a:pathLst>
                  <a:path w="1413510" h="335279">
                    <a:moveTo>
                      <a:pt x="1189812" y="71589"/>
                    </a:moveTo>
                    <a:lnTo>
                      <a:pt x="1304721" y="48653"/>
                    </a:lnTo>
                    <a:lnTo>
                      <a:pt x="1312138" y="297751"/>
                    </a:lnTo>
                    <a:lnTo>
                      <a:pt x="1189812" y="303187"/>
                    </a:lnTo>
                  </a:path>
                  <a:path w="1413510" h="335279">
                    <a:moveTo>
                      <a:pt x="0" y="96774"/>
                    </a:moveTo>
                    <a:lnTo>
                      <a:pt x="164617" y="93586"/>
                    </a:lnTo>
                  </a:path>
                  <a:path w="1413510" h="335279">
                    <a:moveTo>
                      <a:pt x="1413332" y="25908"/>
                    </a:moveTo>
                    <a:lnTo>
                      <a:pt x="1184541" y="71399"/>
                    </a:lnTo>
                  </a:path>
                  <a:path w="1413510" h="335279">
                    <a:moveTo>
                      <a:pt x="859955" y="0"/>
                    </a:moveTo>
                    <a:lnTo>
                      <a:pt x="859955" y="335013"/>
                    </a:lnTo>
                  </a:path>
                </a:pathLst>
              </a:custGeom>
              <a:ln w="11493">
                <a:solidFill>
                  <a:schemeClr val="bg1"/>
                </a:solidFill>
              </a:ln>
            </p:spPr>
            <p:txBody>
              <a:bodyPr wrap="square" lIns="0" tIns="0" rIns="0" bIns="0" rtlCol="0"/>
              <a:lstStyle/>
              <a:p>
                <a:endParaRPr lang="de-DE" noProof="1"/>
              </a:p>
            </p:txBody>
          </p:sp>
          <p:sp>
            <p:nvSpPr>
              <p:cNvPr id="24" name="object 18">
                <a:extLst>
                  <a:ext uri="{FF2B5EF4-FFF2-40B4-BE49-F238E27FC236}">
                    <a16:creationId xmlns:a16="http://schemas.microsoft.com/office/drawing/2014/main" id="{748D957B-7D7B-4DE7-8977-DCFB4C9DD42A}"/>
                  </a:ext>
                </a:extLst>
              </p:cNvPr>
              <p:cNvSpPr/>
              <p:nvPr/>
            </p:nvSpPr>
            <p:spPr>
              <a:xfrm>
                <a:off x="5072573" y="4392565"/>
                <a:ext cx="969010" cy="331470"/>
              </a:xfrm>
              <a:custGeom>
                <a:avLst/>
                <a:gdLst/>
                <a:ahLst/>
                <a:cxnLst/>
                <a:rect l="l" t="t" r="r" b="b"/>
                <a:pathLst>
                  <a:path w="969010" h="331470">
                    <a:moveTo>
                      <a:pt x="368617" y="121878"/>
                    </a:moveTo>
                    <a:lnTo>
                      <a:pt x="368617" y="308065"/>
                    </a:lnTo>
                  </a:path>
                  <a:path w="969010" h="331470">
                    <a:moveTo>
                      <a:pt x="401955" y="121878"/>
                    </a:moveTo>
                    <a:lnTo>
                      <a:pt x="401955" y="311272"/>
                    </a:lnTo>
                  </a:path>
                  <a:path w="969010" h="331470">
                    <a:moveTo>
                      <a:pt x="435279" y="121878"/>
                    </a:moveTo>
                    <a:lnTo>
                      <a:pt x="435279" y="314477"/>
                    </a:lnTo>
                  </a:path>
                  <a:path w="969010" h="331470">
                    <a:moveTo>
                      <a:pt x="468604" y="121878"/>
                    </a:moveTo>
                    <a:lnTo>
                      <a:pt x="468604" y="317682"/>
                    </a:lnTo>
                  </a:path>
                  <a:path w="969010" h="331470">
                    <a:moveTo>
                      <a:pt x="501942" y="121878"/>
                    </a:moveTo>
                    <a:lnTo>
                      <a:pt x="501942" y="320888"/>
                    </a:lnTo>
                  </a:path>
                  <a:path w="969010" h="331470">
                    <a:moveTo>
                      <a:pt x="535266" y="121878"/>
                    </a:moveTo>
                    <a:lnTo>
                      <a:pt x="535266" y="324094"/>
                    </a:lnTo>
                  </a:path>
                  <a:path w="969010" h="331470">
                    <a:moveTo>
                      <a:pt x="568591" y="121878"/>
                    </a:moveTo>
                    <a:lnTo>
                      <a:pt x="568591" y="327299"/>
                    </a:lnTo>
                  </a:path>
                  <a:path w="969010" h="331470">
                    <a:moveTo>
                      <a:pt x="601929" y="121878"/>
                    </a:moveTo>
                    <a:lnTo>
                      <a:pt x="601929" y="330505"/>
                    </a:lnTo>
                  </a:path>
                  <a:path w="969010" h="331470">
                    <a:moveTo>
                      <a:pt x="635254" y="121878"/>
                    </a:moveTo>
                    <a:lnTo>
                      <a:pt x="635254" y="331123"/>
                    </a:lnTo>
                  </a:path>
                  <a:path w="969010" h="331470">
                    <a:moveTo>
                      <a:pt x="668578" y="121878"/>
                    </a:moveTo>
                    <a:lnTo>
                      <a:pt x="668578" y="331123"/>
                    </a:lnTo>
                  </a:path>
                  <a:path w="969010" h="331470">
                    <a:moveTo>
                      <a:pt x="701903" y="121878"/>
                    </a:moveTo>
                    <a:lnTo>
                      <a:pt x="701903" y="331123"/>
                    </a:lnTo>
                  </a:path>
                  <a:path w="969010" h="331470">
                    <a:moveTo>
                      <a:pt x="735241" y="121878"/>
                    </a:moveTo>
                    <a:lnTo>
                      <a:pt x="735241" y="329261"/>
                    </a:lnTo>
                  </a:path>
                  <a:path w="969010" h="331470">
                    <a:moveTo>
                      <a:pt x="768565" y="121878"/>
                    </a:moveTo>
                    <a:lnTo>
                      <a:pt x="768565" y="325836"/>
                    </a:lnTo>
                  </a:path>
                  <a:path w="969010" h="331470">
                    <a:moveTo>
                      <a:pt x="801890" y="121878"/>
                    </a:moveTo>
                    <a:lnTo>
                      <a:pt x="801890" y="322411"/>
                    </a:lnTo>
                  </a:path>
                  <a:path w="969010" h="331470">
                    <a:moveTo>
                      <a:pt x="835228" y="121878"/>
                    </a:moveTo>
                    <a:lnTo>
                      <a:pt x="835228" y="318984"/>
                    </a:lnTo>
                  </a:path>
                  <a:path w="969010" h="331470">
                    <a:moveTo>
                      <a:pt x="868553" y="121878"/>
                    </a:moveTo>
                    <a:lnTo>
                      <a:pt x="868553" y="315559"/>
                    </a:lnTo>
                  </a:path>
                  <a:path w="969010" h="331470">
                    <a:moveTo>
                      <a:pt x="901877" y="121878"/>
                    </a:moveTo>
                    <a:lnTo>
                      <a:pt x="901877" y="312134"/>
                    </a:lnTo>
                  </a:path>
                  <a:path w="969010" h="331470">
                    <a:moveTo>
                      <a:pt x="935215" y="121878"/>
                    </a:moveTo>
                    <a:lnTo>
                      <a:pt x="935215" y="308707"/>
                    </a:lnTo>
                  </a:path>
                  <a:path w="969010" h="331470">
                    <a:moveTo>
                      <a:pt x="968540" y="121878"/>
                    </a:moveTo>
                    <a:lnTo>
                      <a:pt x="968540" y="305282"/>
                    </a:lnTo>
                  </a:path>
                  <a:path w="969010" h="331470">
                    <a:moveTo>
                      <a:pt x="0" y="88891"/>
                    </a:moveTo>
                    <a:lnTo>
                      <a:pt x="0" y="272684"/>
                    </a:lnTo>
                  </a:path>
                  <a:path w="969010" h="331470">
                    <a:moveTo>
                      <a:pt x="35344" y="84133"/>
                    </a:moveTo>
                    <a:lnTo>
                      <a:pt x="35344" y="276085"/>
                    </a:lnTo>
                  </a:path>
                  <a:path w="969010" h="331470">
                    <a:moveTo>
                      <a:pt x="68668" y="79648"/>
                    </a:moveTo>
                    <a:lnTo>
                      <a:pt x="68668" y="279290"/>
                    </a:lnTo>
                  </a:path>
                  <a:path w="969010" h="331470">
                    <a:moveTo>
                      <a:pt x="101993" y="75162"/>
                    </a:moveTo>
                    <a:lnTo>
                      <a:pt x="101993" y="148216"/>
                    </a:lnTo>
                  </a:path>
                  <a:path w="969010" h="331470">
                    <a:moveTo>
                      <a:pt x="135318" y="70676"/>
                    </a:moveTo>
                    <a:lnTo>
                      <a:pt x="135318" y="144575"/>
                    </a:lnTo>
                  </a:path>
                  <a:path w="969010" h="331470">
                    <a:moveTo>
                      <a:pt x="168656" y="66188"/>
                    </a:moveTo>
                    <a:lnTo>
                      <a:pt x="168656" y="140933"/>
                    </a:lnTo>
                  </a:path>
                  <a:path w="969010" h="331470">
                    <a:moveTo>
                      <a:pt x="201980" y="61702"/>
                    </a:moveTo>
                    <a:lnTo>
                      <a:pt x="201980" y="137292"/>
                    </a:lnTo>
                  </a:path>
                  <a:path w="969010" h="331470">
                    <a:moveTo>
                      <a:pt x="235305" y="57216"/>
                    </a:moveTo>
                    <a:lnTo>
                      <a:pt x="235305" y="133652"/>
                    </a:lnTo>
                  </a:path>
                  <a:path w="969010" h="331470">
                    <a:moveTo>
                      <a:pt x="268643" y="52729"/>
                    </a:moveTo>
                    <a:lnTo>
                      <a:pt x="268643" y="130010"/>
                    </a:lnTo>
                  </a:path>
                  <a:path w="969010" h="331470">
                    <a:moveTo>
                      <a:pt x="301967" y="48243"/>
                    </a:moveTo>
                    <a:lnTo>
                      <a:pt x="301967" y="126369"/>
                    </a:lnTo>
                  </a:path>
                  <a:path w="969010" h="331470">
                    <a:moveTo>
                      <a:pt x="335292" y="43757"/>
                    </a:moveTo>
                    <a:lnTo>
                      <a:pt x="335292" y="122728"/>
                    </a:lnTo>
                  </a:path>
                  <a:path w="969010" h="331470">
                    <a:moveTo>
                      <a:pt x="368617" y="39271"/>
                    </a:moveTo>
                    <a:lnTo>
                      <a:pt x="368617" y="121878"/>
                    </a:lnTo>
                  </a:path>
                  <a:path w="969010" h="331470">
                    <a:moveTo>
                      <a:pt x="401955" y="34784"/>
                    </a:moveTo>
                    <a:lnTo>
                      <a:pt x="401955" y="121878"/>
                    </a:lnTo>
                  </a:path>
                  <a:path w="969010" h="331470">
                    <a:moveTo>
                      <a:pt x="435279" y="30298"/>
                    </a:moveTo>
                    <a:lnTo>
                      <a:pt x="435279" y="121878"/>
                    </a:lnTo>
                  </a:path>
                  <a:path w="969010" h="331470">
                    <a:moveTo>
                      <a:pt x="468604" y="25812"/>
                    </a:moveTo>
                    <a:lnTo>
                      <a:pt x="468604" y="121878"/>
                    </a:lnTo>
                  </a:path>
                  <a:path w="969010" h="331470">
                    <a:moveTo>
                      <a:pt x="501942" y="21324"/>
                    </a:moveTo>
                    <a:lnTo>
                      <a:pt x="501942" y="121878"/>
                    </a:lnTo>
                  </a:path>
                  <a:path w="969010" h="331470">
                    <a:moveTo>
                      <a:pt x="535266" y="16838"/>
                    </a:moveTo>
                    <a:lnTo>
                      <a:pt x="535266" y="121878"/>
                    </a:lnTo>
                  </a:path>
                  <a:path w="969010" h="331470">
                    <a:moveTo>
                      <a:pt x="568591" y="12353"/>
                    </a:moveTo>
                    <a:lnTo>
                      <a:pt x="568591" y="121878"/>
                    </a:lnTo>
                  </a:path>
                  <a:path w="969010" h="331470">
                    <a:moveTo>
                      <a:pt x="601929" y="7865"/>
                    </a:moveTo>
                    <a:lnTo>
                      <a:pt x="601929" y="121878"/>
                    </a:lnTo>
                  </a:path>
                  <a:path w="969010" h="331470">
                    <a:moveTo>
                      <a:pt x="635254" y="3379"/>
                    </a:moveTo>
                    <a:lnTo>
                      <a:pt x="635254" y="121878"/>
                    </a:lnTo>
                  </a:path>
                  <a:path w="969010" h="331470">
                    <a:moveTo>
                      <a:pt x="668578" y="0"/>
                    </a:moveTo>
                    <a:lnTo>
                      <a:pt x="668578" y="121878"/>
                    </a:lnTo>
                  </a:path>
                  <a:path w="969010" h="331470">
                    <a:moveTo>
                      <a:pt x="701903" y="4637"/>
                    </a:moveTo>
                    <a:lnTo>
                      <a:pt x="701903" y="121878"/>
                    </a:lnTo>
                  </a:path>
                  <a:path w="969010" h="331470">
                    <a:moveTo>
                      <a:pt x="735241" y="9277"/>
                    </a:moveTo>
                    <a:lnTo>
                      <a:pt x="735241" y="121878"/>
                    </a:lnTo>
                  </a:path>
                  <a:path w="969010" h="331470">
                    <a:moveTo>
                      <a:pt x="768565" y="13914"/>
                    </a:moveTo>
                    <a:lnTo>
                      <a:pt x="768565" y="121878"/>
                    </a:lnTo>
                  </a:path>
                  <a:path w="969010" h="331470">
                    <a:moveTo>
                      <a:pt x="801890" y="18552"/>
                    </a:moveTo>
                    <a:lnTo>
                      <a:pt x="801890" y="121878"/>
                    </a:lnTo>
                  </a:path>
                  <a:path w="969010" h="331470">
                    <a:moveTo>
                      <a:pt x="835228" y="23191"/>
                    </a:moveTo>
                    <a:lnTo>
                      <a:pt x="835228" y="121878"/>
                    </a:lnTo>
                  </a:path>
                  <a:path w="969010" h="331470">
                    <a:moveTo>
                      <a:pt x="868553" y="27829"/>
                    </a:moveTo>
                    <a:lnTo>
                      <a:pt x="868553" y="121878"/>
                    </a:lnTo>
                  </a:path>
                  <a:path w="969010" h="331470">
                    <a:moveTo>
                      <a:pt x="901877" y="32467"/>
                    </a:moveTo>
                    <a:lnTo>
                      <a:pt x="901877" y="121878"/>
                    </a:lnTo>
                  </a:path>
                  <a:path w="969010" h="331470">
                    <a:moveTo>
                      <a:pt x="935215" y="37106"/>
                    </a:moveTo>
                    <a:lnTo>
                      <a:pt x="935215" y="121878"/>
                    </a:lnTo>
                  </a:path>
                  <a:path w="969010" h="331470">
                    <a:moveTo>
                      <a:pt x="968540" y="41744"/>
                    </a:moveTo>
                    <a:lnTo>
                      <a:pt x="968540" y="121878"/>
                    </a:lnTo>
                  </a:path>
                </a:pathLst>
              </a:custGeom>
              <a:ln w="11493">
                <a:solidFill>
                  <a:schemeClr val="bg1"/>
                </a:solidFill>
              </a:ln>
            </p:spPr>
            <p:txBody>
              <a:bodyPr wrap="square" lIns="0" tIns="0" rIns="0" bIns="0" rtlCol="0"/>
              <a:lstStyle/>
              <a:p>
                <a:endParaRPr lang="de-DE" noProof="1"/>
              </a:p>
            </p:txBody>
          </p:sp>
        </p:grpSp>
        <p:sp>
          <p:nvSpPr>
            <p:cNvPr id="26" name="object 20">
              <a:extLst>
                <a:ext uri="{FF2B5EF4-FFF2-40B4-BE49-F238E27FC236}">
                  <a16:creationId xmlns:a16="http://schemas.microsoft.com/office/drawing/2014/main" id="{6111BCD5-3C5B-47E5-9D64-77D308FCAA06}"/>
                </a:ext>
              </a:extLst>
            </p:cNvPr>
            <p:cNvSpPr/>
            <p:nvPr/>
          </p:nvSpPr>
          <p:spPr>
            <a:xfrm>
              <a:off x="7462908" y="3387301"/>
              <a:ext cx="905510" cy="534670"/>
            </a:xfrm>
            <a:custGeom>
              <a:avLst/>
              <a:gdLst/>
              <a:ahLst/>
              <a:cxnLst/>
              <a:rect l="l" t="t" r="r" b="b"/>
              <a:pathLst>
                <a:path w="905509" h="534670">
                  <a:moveTo>
                    <a:pt x="496722" y="533717"/>
                  </a:moveTo>
                  <a:lnTo>
                    <a:pt x="489000" y="91922"/>
                  </a:lnTo>
                  <a:lnTo>
                    <a:pt x="488619" y="69811"/>
                  </a:lnTo>
                  <a:lnTo>
                    <a:pt x="732929" y="0"/>
                  </a:lnTo>
                  <a:lnTo>
                    <a:pt x="904887" y="75768"/>
                  </a:lnTo>
                  <a:lnTo>
                    <a:pt x="904887" y="483514"/>
                  </a:lnTo>
                  <a:lnTo>
                    <a:pt x="503948" y="534593"/>
                  </a:lnTo>
                  <a:lnTo>
                    <a:pt x="0" y="473303"/>
                  </a:lnTo>
                  <a:lnTo>
                    <a:pt x="0" y="234950"/>
                  </a:lnTo>
                  <a:lnTo>
                    <a:pt x="489000" y="91922"/>
                  </a:lnTo>
                </a:path>
                <a:path w="905509" h="534670">
                  <a:moveTo>
                    <a:pt x="0" y="352577"/>
                  </a:moveTo>
                  <a:lnTo>
                    <a:pt x="492899" y="314858"/>
                  </a:lnTo>
                  <a:lnTo>
                    <a:pt x="904887" y="340423"/>
                  </a:lnTo>
                </a:path>
                <a:path w="905509" h="534670">
                  <a:moveTo>
                    <a:pt x="489000" y="91922"/>
                  </a:moveTo>
                  <a:lnTo>
                    <a:pt x="900430" y="215265"/>
                  </a:lnTo>
                </a:path>
                <a:path w="905509" h="534670">
                  <a:moveTo>
                    <a:pt x="732929" y="0"/>
                  </a:moveTo>
                  <a:lnTo>
                    <a:pt x="732929" y="505421"/>
                  </a:lnTo>
                </a:path>
                <a:path w="905509" h="534670">
                  <a:moveTo>
                    <a:pt x="820077" y="38392"/>
                  </a:moveTo>
                  <a:lnTo>
                    <a:pt x="820077" y="489635"/>
                  </a:lnTo>
                </a:path>
                <a:path w="905509" h="534670">
                  <a:moveTo>
                    <a:pt x="603338" y="38392"/>
                  </a:moveTo>
                  <a:lnTo>
                    <a:pt x="603338" y="128041"/>
                  </a:lnTo>
                </a:path>
                <a:path w="905509" h="534670">
                  <a:moveTo>
                    <a:pt x="639838" y="138747"/>
                  </a:moveTo>
                  <a:lnTo>
                    <a:pt x="639838" y="513727"/>
                  </a:lnTo>
                </a:path>
                <a:path w="905509" h="534670">
                  <a:moveTo>
                    <a:pt x="362648" y="128879"/>
                  </a:moveTo>
                  <a:lnTo>
                    <a:pt x="362648" y="513727"/>
                  </a:lnTo>
                </a:path>
                <a:path w="905509" h="534670">
                  <a:moveTo>
                    <a:pt x="254546" y="164071"/>
                  </a:moveTo>
                  <a:lnTo>
                    <a:pt x="254546" y="505421"/>
                  </a:lnTo>
                </a:path>
                <a:path w="905509" h="534670">
                  <a:moveTo>
                    <a:pt x="169354" y="185420"/>
                  </a:moveTo>
                  <a:lnTo>
                    <a:pt x="169354" y="493903"/>
                  </a:lnTo>
                </a:path>
                <a:path w="905509" h="534670">
                  <a:moveTo>
                    <a:pt x="103390" y="200850"/>
                  </a:moveTo>
                  <a:lnTo>
                    <a:pt x="103390" y="488619"/>
                  </a:lnTo>
                </a:path>
                <a:path w="905509" h="534670">
                  <a:moveTo>
                    <a:pt x="53009" y="219443"/>
                  </a:moveTo>
                  <a:lnTo>
                    <a:pt x="53009" y="483527"/>
                  </a:lnTo>
                </a:path>
              </a:pathLst>
            </a:custGeom>
            <a:ln w="11493">
              <a:solidFill>
                <a:schemeClr val="bg1"/>
              </a:solidFill>
            </a:ln>
          </p:spPr>
          <p:txBody>
            <a:bodyPr wrap="square" lIns="0" tIns="0" rIns="0" bIns="0" rtlCol="0"/>
            <a:lstStyle/>
            <a:p>
              <a:endParaRPr lang="de-DE" noProof="1"/>
            </a:p>
          </p:txBody>
        </p:sp>
        <p:grpSp>
          <p:nvGrpSpPr>
            <p:cNvPr id="27" name="object 21">
              <a:extLst>
                <a:ext uri="{FF2B5EF4-FFF2-40B4-BE49-F238E27FC236}">
                  <a16:creationId xmlns:a16="http://schemas.microsoft.com/office/drawing/2014/main" id="{24E2AFF4-3DC3-46C5-AA34-12409FBBF226}"/>
                </a:ext>
              </a:extLst>
            </p:cNvPr>
            <p:cNvGrpSpPr/>
            <p:nvPr/>
          </p:nvGrpSpPr>
          <p:grpSpPr>
            <a:xfrm>
              <a:off x="8373655" y="4702020"/>
              <a:ext cx="1204595" cy="531495"/>
              <a:chOff x="7143569" y="4168621"/>
              <a:chExt cx="1204595" cy="531495"/>
            </a:xfrm>
          </p:grpSpPr>
          <p:sp>
            <p:nvSpPr>
              <p:cNvPr id="28" name="object 22">
                <a:extLst>
                  <a:ext uri="{FF2B5EF4-FFF2-40B4-BE49-F238E27FC236}">
                    <a16:creationId xmlns:a16="http://schemas.microsoft.com/office/drawing/2014/main" id="{15C3CF29-7F97-458A-A757-B327CB361BE3}"/>
                  </a:ext>
                </a:extLst>
              </p:cNvPr>
              <p:cNvSpPr/>
              <p:nvPr/>
            </p:nvSpPr>
            <p:spPr>
              <a:xfrm>
                <a:off x="7149316" y="4174368"/>
                <a:ext cx="1193165" cy="520065"/>
              </a:xfrm>
              <a:custGeom>
                <a:avLst/>
                <a:gdLst/>
                <a:ahLst/>
                <a:cxnLst/>
                <a:rect l="l" t="t" r="r" b="b"/>
                <a:pathLst>
                  <a:path w="1193165" h="520064">
                    <a:moveTo>
                      <a:pt x="5727" y="436308"/>
                    </a:moveTo>
                    <a:lnTo>
                      <a:pt x="0" y="214502"/>
                    </a:lnTo>
                    <a:lnTo>
                      <a:pt x="814730" y="0"/>
                    </a:lnTo>
                    <a:lnTo>
                      <a:pt x="1188643" y="196786"/>
                    </a:lnTo>
                    <a:lnTo>
                      <a:pt x="1192593" y="446722"/>
                    </a:lnTo>
                    <a:lnTo>
                      <a:pt x="814730" y="519531"/>
                    </a:lnTo>
                    <a:lnTo>
                      <a:pt x="5727" y="436308"/>
                    </a:lnTo>
                    <a:close/>
                  </a:path>
                  <a:path w="1193165" h="520064">
                    <a:moveTo>
                      <a:pt x="814730" y="0"/>
                    </a:moveTo>
                    <a:lnTo>
                      <a:pt x="814730" y="519531"/>
                    </a:lnTo>
                  </a:path>
                </a:pathLst>
              </a:custGeom>
              <a:ln w="11493">
                <a:solidFill>
                  <a:schemeClr val="bg1"/>
                </a:solidFill>
              </a:ln>
            </p:spPr>
            <p:txBody>
              <a:bodyPr wrap="square" lIns="0" tIns="0" rIns="0" bIns="0" rtlCol="0"/>
              <a:lstStyle/>
              <a:p>
                <a:endParaRPr lang="de-DE" noProof="1"/>
              </a:p>
            </p:txBody>
          </p:sp>
          <p:sp>
            <p:nvSpPr>
              <p:cNvPr id="29" name="object 23">
                <a:extLst>
                  <a:ext uri="{FF2B5EF4-FFF2-40B4-BE49-F238E27FC236}">
                    <a16:creationId xmlns:a16="http://schemas.microsoft.com/office/drawing/2014/main" id="{CEE6DEB2-CEE8-4A28-91AE-B1FDBA63C059}"/>
                  </a:ext>
                </a:extLst>
              </p:cNvPr>
              <p:cNvSpPr/>
              <p:nvPr/>
            </p:nvSpPr>
            <p:spPr>
              <a:xfrm>
                <a:off x="7231881" y="4498396"/>
                <a:ext cx="526415" cy="172720"/>
              </a:xfrm>
              <a:custGeom>
                <a:avLst/>
                <a:gdLst/>
                <a:ahLst/>
                <a:cxnLst/>
                <a:rect l="l" t="t" r="r" b="b"/>
                <a:pathLst>
                  <a:path w="526415" h="172720">
                    <a:moveTo>
                      <a:pt x="0" y="17255"/>
                    </a:moveTo>
                    <a:lnTo>
                      <a:pt x="0" y="114343"/>
                    </a:lnTo>
                  </a:path>
                  <a:path w="526415" h="172720">
                    <a:moveTo>
                      <a:pt x="29235" y="16296"/>
                    </a:moveTo>
                    <a:lnTo>
                      <a:pt x="29235" y="117568"/>
                    </a:lnTo>
                  </a:path>
                  <a:path w="526415" h="172720">
                    <a:moveTo>
                      <a:pt x="58470" y="15338"/>
                    </a:moveTo>
                    <a:lnTo>
                      <a:pt x="58470" y="120793"/>
                    </a:lnTo>
                  </a:path>
                  <a:path w="526415" h="172720">
                    <a:moveTo>
                      <a:pt x="87706" y="14379"/>
                    </a:moveTo>
                    <a:lnTo>
                      <a:pt x="87706" y="124019"/>
                    </a:lnTo>
                  </a:path>
                  <a:path w="526415" h="172720">
                    <a:moveTo>
                      <a:pt x="116941" y="13420"/>
                    </a:moveTo>
                    <a:lnTo>
                      <a:pt x="116941" y="127244"/>
                    </a:lnTo>
                  </a:path>
                  <a:path w="526415" h="172720">
                    <a:moveTo>
                      <a:pt x="146177" y="12462"/>
                    </a:moveTo>
                    <a:lnTo>
                      <a:pt x="146177" y="130469"/>
                    </a:lnTo>
                  </a:path>
                  <a:path w="526415" h="172720">
                    <a:moveTo>
                      <a:pt x="175412" y="11503"/>
                    </a:moveTo>
                    <a:lnTo>
                      <a:pt x="175412" y="133695"/>
                    </a:lnTo>
                  </a:path>
                  <a:path w="526415" h="172720">
                    <a:moveTo>
                      <a:pt x="204635" y="10545"/>
                    </a:moveTo>
                    <a:lnTo>
                      <a:pt x="204635" y="136919"/>
                    </a:lnTo>
                  </a:path>
                  <a:path w="526415" h="172720">
                    <a:moveTo>
                      <a:pt x="233870" y="9586"/>
                    </a:moveTo>
                    <a:lnTo>
                      <a:pt x="233870" y="140144"/>
                    </a:lnTo>
                  </a:path>
                  <a:path w="526415" h="172720">
                    <a:moveTo>
                      <a:pt x="263105" y="8627"/>
                    </a:moveTo>
                    <a:lnTo>
                      <a:pt x="263105" y="143369"/>
                    </a:lnTo>
                  </a:path>
                  <a:path w="526415" h="172720">
                    <a:moveTo>
                      <a:pt x="292341" y="7669"/>
                    </a:moveTo>
                    <a:lnTo>
                      <a:pt x="292341" y="146595"/>
                    </a:lnTo>
                  </a:path>
                  <a:path w="526415" h="172720">
                    <a:moveTo>
                      <a:pt x="321576" y="6710"/>
                    </a:moveTo>
                    <a:lnTo>
                      <a:pt x="321576" y="149820"/>
                    </a:lnTo>
                  </a:path>
                  <a:path w="526415" h="172720">
                    <a:moveTo>
                      <a:pt x="350812" y="5751"/>
                    </a:moveTo>
                    <a:lnTo>
                      <a:pt x="350812" y="153045"/>
                    </a:lnTo>
                  </a:path>
                  <a:path w="526415" h="172720">
                    <a:moveTo>
                      <a:pt x="380047" y="4793"/>
                    </a:moveTo>
                    <a:lnTo>
                      <a:pt x="380047" y="156271"/>
                    </a:lnTo>
                  </a:path>
                  <a:path w="526415" h="172720">
                    <a:moveTo>
                      <a:pt x="409282" y="3834"/>
                    </a:moveTo>
                    <a:lnTo>
                      <a:pt x="409282" y="159496"/>
                    </a:lnTo>
                  </a:path>
                  <a:path w="526415" h="172720">
                    <a:moveTo>
                      <a:pt x="438518" y="2875"/>
                    </a:moveTo>
                    <a:lnTo>
                      <a:pt x="438518" y="162721"/>
                    </a:lnTo>
                  </a:path>
                  <a:path w="526415" h="172720">
                    <a:moveTo>
                      <a:pt x="467753" y="1917"/>
                    </a:moveTo>
                    <a:lnTo>
                      <a:pt x="467753" y="165947"/>
                    </a:lnTo>
                  </a:path>
                  <a:path w="526415" h="172720">
                    <a:moveTo>
                      <a:pt x="496989" y="958"/>
                    </a:moveTo>
                    <a:lnTo>
                      <a:pt x="496989" y="169172"/>
                    </a:lnTo>
                  </a:path>
                  <a:path w="526415" h="172720">
                    <a:moveTo>
                      <a:pt x="526224" y="0"/>
                    </a:moveTo>
                    <a:lnTo>
                      <a:pt x="526224" y="172397"/>
                    </a:lnTo>
                  </a:path>
                </a:pathLst>
              </a:custGeom>
              <a:ln w="8623">
                <a:solidFill>
                  <a:schemeClr val="bg1"/>
                </a:solidFill>
              </a:ln>
            </p:spPr>
            <p:txBody>
              <a:bodyPr wrap="square" lIns="0" tIns="0" rIns="0" bIns="0" rtlCol="0"/>
              <a:lstStyle/>
              <a:p>
                <a:endParaRPr lang="de-DE" noProof="1"/>
              </a:p>
            </p:txBody>
          </p:sp>
          <p:sp>
            <p:nvSpPr>
              <p:cNvPr id="30" name="object 24">
                <a:extLst>
                  <a:ext uri="{FF2B5EF4-FFF2-40B4-BE49-F238E27FC236}">
                    <a16:creationId xmlns:a16="http://schemas.microsoft.com/office/drawing/2014/main" id="{0CE80089-259D-44A3-A8A4-6DFC3501E423}"/>
                  </a:ext>
                </a:extLst>
              </p:cNvPr>
              <p:cNvSpPr/>
              <p:nvPr/>
            </p:nvSpPr>
            <p:spPr>
              <a:xfrm>
                <a:off x="7214131" y="4497435"/>
                <a:ext cx="573405" cy="177165"/>
              </a:xfrm>
              <a:custGeom>
                <a:avLst/>
                <a:gdLst/>
                <a:ahLst/>
                <a:cxnLst/>
                <a:rect l="l" t="t" r="r" b="b"/>
                <a:pathLst>
                  <a:path w="573404" h="177164">
                    <a:moveTo>
                      <a:pt x="0" y="117005"/>
                    </a:moveTo>
                    <a:lnTo>
                      <a:pt x="0" y="18795"/>
                    </a:lnTo>
                    <a:lnTo>
                      <a:pt x="573201" y="0"/>
                    </a:lnTo>
                    <a:lnTo>
                      <a:pt x="573201" y="176580"/>
                    </a:lnTo>
                  </a:path>
                </a:pathLst>
              </a:custGeom>
              <a:ln w="11493">
                <a:solidFill>
                  <a:schemeClr val="bg1"/>
                </a:solidFill>
              </a:ln>
            </p:spPr>
            <p:txBody>
              <a:bodyPr wrap="square" lIns="0" tIns="0" rIns="0" bIns="0" rtlCol="0"/>
              <a:lstStyle/>
              <a:p>
                <a:endParaRPr lang="de-DE" noProof="1"/>
              </a:p>
            </p:txBody>
          </p:sp>
        </p:grpSp>
        <p:sp>
          <p:nvSpPr>
            <p:cNvPr id="31" name="object 25">
              <a:extLst>
                <a:ext uri="{FF2B5EF4-FFF2-40B4-BE49-F238E27FC236}">
                  <a16:creationId xmlns:a16="http://schemas.microsoft.com/office/drawing/2014/main" id="{515F1CF8-2A4C-461A-9A58-966793177F95}"/>
                </a:ext>
              </a:extLst>
            </p:cNvPr>
            <p:cNvSpPr/>
            <p:nvPr/>
          </p:nvSpPr>
          <p:spPr>
            <a:xfrm>
              <a:off x="9798134" y="3587044"/>
              <a:ext cx="1275080" cy="374650"/>
            </a:xfrm>
            <a:custGeom>
              <a:avLst/>
              <a:gdLst/>
              <a:ahLst/>
              <a:cxnLst/>
              <a:rect l="l" t="t" r="r" b="b"/>
              <a:pathLst>
                <a:path w="1275079" h="374650">
                  <a:moveTo>
                    <a:pt x="0" y="176860"/>
                  </a:moveTo>
                  <a:lnTo>
                    <a:pt x="915301" y="0"/>
                  </a:lnTo>
                  <a:lnTo>
                    <a:pt x="1274495" y="134924"/>
                  </a:lnTo>
                  <a:lnTo>
                    <a:pt x="1274495" y="322719"/>
                  </a:lnTo>
                  <a:lnTo>
                    <a:pt x="1207033" y="331838"/>
                  </a:lnTo>
                  <a:lnTo>
                    <a:pt x="1047361" y="361955"/>
                  </a:lnTo>
                  <a:lnTo>
                    <a:pt x="934785" y="374464"/>
                  </a:lnTo>
                  <a:lnTo>
                    <a:pt x="815886" y="371587"/>
                  </a:lnTo>
                  <a:lnTo>
                    <a:pt x="637247" y="355549"/>
                  </a:lnTo>
                  <a:lnTo>
                    <a:pt x="0" y="297192"/>
                  </a:lnTo>
                  <a:lnTo>
                    <a:pt x="0" y="176860"/>
                  </a:lnTo>
                  <a:close/>
                </a:path>
                <a:path w="1275079" h="374650">
                  <a:moveTo>
                    <a:pt x="85483" y="305028"/>
                  </a:moveTo>
                  <a:lnTo>
                    <a:pt x="85483" y="215150"/>
                  </a:lnTo>
                  <a:lnTo>
                    <a:pt x="917130" y="147688"/>
                  </a:lnTo>
                  <a:lnTo>
                    <a:pt x="1199743" y="195097"/>
                  </a:lnTo>
                  <a:lnTo>
                    <a:pt x="1199743" y="331838"/>
                  </a:lnTo>
                </a:path>
                <a:path w="1275079" h="374650">
                  <a:moveTo>
                    <a:pt x="915301" y="0"/>
                  </a:moveTo>
                  <a:lnTo>
                    <a:pt x="915301" y="147688"/>
                  </a:lnTo>
                </a:path>
                <a:path w="1275079" h="374650">
                  <a:moveTo>
                    <a:pt x="117424" y="212559"/>
                  </a:moveTo>
                  <a:lnTo>
                    <a:pt x="117424" y="308609"/>
                  </a:lnTo>
                </a:path>
                <a:path w="1275079" h="374650">
                  <a:moveTo>
                    <a:pt x="154076" y="209588"/>
                  </a:moveTo>
                  <a:lnTo>
                    <a:pt x="154076" y="314312"/>
                  </a:lnTo>
                </a:path>
                <a:path w="1275079" h="374650">
                  <a:moveTo>
                    <a:pt x="190741" y="206616"/>
                  </a:moveTo>
                  <a:lnTo>
                    <a:pt x="190741" y="318782"/>
                  </a:lnTo>
                </a:path>
                <a:path w="1275079" h="374650">
                  <a:moveTo>
                    <a:pt x="227406" y="203238"/>
                  </a:moveTo>
                  <a:lnTo>
                    <a:pt x="227406" y="318782"/>
                  </a:lnTo>
                </a:path>
                <a:path w="1275079" h="374650">
                  <a:moveTo>
                    <a:pt x="264071" y="198031"/>
                  </a:moveTo>
                  <a:lnTo>
                    <a:pt x="264071" y="321373"/>
                  </a:lnTo>
                </a:path>
                <a:path w="1275079" h="374650">
                  <a:moveTo>
                    <a:pt x="300723" y="193903"/>
                  </a:moveTo>
                  <a:lnTo>
                    <a:pt x="300723" y="329082"/>
                  </a:lnTo>
                </a:path>
                <a:path w="1275079" h="374650">
                  <a:moveTo>
                    <a:pt x="337388" y="191160"/>
                  </a:moveTo>
                  <a:lnTo>
                    <a:pt x="337388" y="329082"/>
                  </a:lnTo>
                </a:path>
                <a:path w="1275079" h="374650">
                  <a:moveTo>
                    <a:pt x="374053" y="188417"/>
                  </a:moveTo>
                  <a:lnTo>
                    <a:pt x="374053" y="334568"/>
                  </a:lnTo>
                </a:path>
                <a:path w="1275079" h="374650">
                  <a:moveTo>
                    <a:pt x="410718" y="185673"/>
                  </a:moveTo>
                  <a:lnTo>
                    <a:pt x="410718" y="335305"/>
                  </a:lnTo>
                </a:path>
                <a:path w="1275079" h="374650">
                  <a:moveTo>
                    <a:pt x="447382" y="182156"/>
                  </a:moveTo>
                  <a:lnTo>
                    <a:pt x="447382" y="338162"/>
                  </a:lnTo>
                </a:path>
                <a:path w="1275079" h="374650">
                  <a:moveTo>
                    <a:pt x="484035" y="177444"/>
                  </a:moveTo>
                  <a:lnTo>
                    <a:pt x="484035" y="341515"/>
                  </a:lnTo>
                </a:path>
                <a:path w="1275079" h="374650">
                  <a:moveTo>
                    <a:pt x="520700" y="177444"/>
                  </a:moveTo>
                  <a:lnTo>
                    <a:pt x="520700" y="345224"/>
                  </a:lnTo>
                </a:path>
                <a:path w="1275079" h="374650">
                  <a:moveTo>
                    <a:pt x="557364" y="174015"/>
                  </a:moveTo>
                  <a:lnTo>
                    <a:pt x="557364" y="350342"/>
                  </a:lnTo>
                </a:path>
                <a:path w="1275079" h="374650">
                  <a:moveTo>
                    <a:pt x="594017" y="173901"/>
                  </a:moveTo>
                  <a:lnTo>
                    <a:pt x="594017" y="351586"/>
                  </a:lnTo>
                </a:path>
                <a:path w="1275079" h="374650">
                  <a:moveTo>
                    <a:pt x="630682" y="170916"/>
                  </a:moveTo>
                  <a:lnTo>
                    <a:pt x="630682" y="355549"/>
                  </a:lnTo>
                </a:path>
                <a:path w="1275079" h="374650">
                  <a:moveTo>
                    <a:pt x="667346" y="167944"/>
                  </a:moveTo>
                  <a:lnTo>
                    <a:pt x="667346" y="361822"/>
                  </a:lnTo>
                </a:path>
                <a:path w="1275079" h="374650">
                  <a:moveTo>
                    <a:pt x="704011" y="164972"/>
                  </a:moveTo>
                  <a:lnTo>
                    <a:pt x="704011" y="364324"/>
                  </a:lnTo>
                </a:path>
                <a:path w="1275079" h="374650">
                  <a:moveTo>
                    <a:pt x="740664" y="162001"/>
                  </a:moveTo>
                  <a:lnTo>
                    <a:pt x="740664" y="364324"/>
                  </a:lnTo>
                </a:path>
                <a:path w="1275079" h="374650">
                  <a:moveTo>
                    <a:pt x="777328" y="159029"/>
                  </a:moveTo>
                  <a:lnTo>
                    <a:pt x="777328" y="367779"/>
                  </a:lnTo>
                </a:path>
                <a:path w="1275079" h="374650">
                  <a:moveTo>
                    <a:pt x="813993" y="151726"/>
                  </a:moveTo>
                  <a:lnTo>
                    <a:pt x="813993" y="367779"/>
                  </a:lnTo>
                </a:path>
                <a:path w="1275079" h="374650">
                  <a:moveTo>
                    <a:pt x="850658" y="151726"/>
                  </a:moveTo>
                  <a:lnTo>
                    <a:pt x="850658" y="367779"/>
                  </a:lnTo>
                </a:path>
                <a:path w="1275079" h="374650">
                  <a:moveTo>
                    <a:pt x="887310" y="147688"/>
                  </a:moveTo>
                  <a:lnTo>
                    <a:pt x="887310" y="364324"/>
                  </a:lnTo>
                </a:path>
                <a:path w="1275079" h="374650">
                  <a:moveTo>
                    <a:pt x="923975" y="151726"/>
                  </a:moveTo>
                  <a:lnTo>
                    <a:pt x="923975" y="364324"/>
                  </a:lnTo>
                </a:path>
                <a:path w="1275079" h="374650">
                  <a:moveTo>
                    <a:pt x="960640" y="151726"/>
                  </a:moveTo>
                  <a:lnTo>
                    <a:pt x="960640" y="364324"/>
                  </a:lnTo>
                </a:path>
                <a:path w="1275079" h="374650">
                  <a:moveTo>
                    <a:pt x="997305" y="162001"/>
                  </a:moveTo>
                  <a:lnTo>
                    <a:pt x="997305" y="357339"/>
                  </a:lnTo>
                </a:path>
                <a:path w="1275079" h="374650">
                  <a:moveTo>
                    <a:pt x="1033957" y="164972"/>
                  </a:moveTo>
                  <a:lnTo>
                    <a:pt x="1033957" y="357339"/>
                  </a:lnTo>
                </a:path>
                <a:path w="1275079" h="374650">
                  <a:moveTo>
                    <a:pt x="1070622" y="173431"/>
                  </a:moveTo>
                  <a:lnTo>
                    <a:pt x="1070622" y="355549"/>
                  </a:lnTo>
                </a:path>
                <a:path w="1275079" h="374650">
                  <a:moveTo>
                    <a:pt x="1107287" y="177444"/>
                  </a:moveTo>
                  <a:lnTo>
                    <a:pt x="1107287" y="345224"/>
                  </a:lnTo>
                </a:path>
                <a:path w="1275079" h="374650">
                  <a:moveTo>
                    <a:pt x="1143952" y="186448"/>
                  </a:moveTo>
                  <a:lnTo>
                    <a:pt x="1143952" y="342061"/>
                  </a:lnTo>
                </a:path>
                <a:path w="1275079" h="374650">
                  <a:moveTo>
                    <a:pt x="1180604" y="186448"/>
                  </a:moveTo>
                  <a:lnTo>
                    <a:pt x="1180604" y="338162"/>
                  </a:lnTo>
                </a:path>
              </a:pathLst>
            </a:custGeom>
            <a:ln w="11493">
              <a:solidFill>
                <a:schemeClr val="bg1"/>
              </a:solidFill>
            </a:ln>
          </p:spPr>
          <p:txBody>
            <a:bodyPr wrap="square" lIns="0" tIns="0" rIns="0" bIns="0" rtlCol="0"/>
            <a:lstStyle/>
            <a:p>
              <a:endParaRPr lang="de-DE" noProof="1"/>
            </a:p>
          </p:txBody>
        </p:sp>
        <p:grpSp>
          <p:nvGrpSpPr>
            <p:cNvPr id="32" name="object 26">
              <a:extLst>
                <a:ext uri="{FF2B5EF4-FFF2-40B4-BE49-F238E27FC236}">
                  <a16:creationId xmlns:a16="http://schemas.microsoft.com/office/drawing/2014/main" id="{9D1CBFD6-2DDA-4471-8254-CE777D617C07}"/>
                </a:ext>
              </a:extLst>
            </p:cNvPr>
            <p:cNvGrpSpPr/>
            <p:nvPr/>
          </p:nvGrpSpPr>
          <p:grpSpPr>
            <a:xfrm>
              <a:off x="7362360" y="1729632"/>
              <a:ext cx="1202690" cy="763905"/>
              <a:chOff x="6132274" y="1196233"/>
              <a:chExt cx="1202690" cy="763905"/>
            </a:xfrm>
          </p:grpSpPr>
          <p:sp>
            <p:nvSpPr>
              <p:cNvPr id="33" name="object 27">
                <a:extLst>
                  <a:ext uri="{FF2B5EF4-FFF2-40B4-BE49-F238E27FC236}">
                    <a16:creationId xmlns:a16="http://schemas.microsoft.com/office/drawing/2014/main" id="{69B19C22-AAAA-45F4-92C2-DDFC6CBF864C}"/>
                  </a:ext>
                </a:extLst>
              </p:cNvPr>
              <p:cNvSpPr/>
              <p:nvPr/>
            </p:nvSpPr>
            <p:spPr>
              <a:xfrm>
                <a:off x="6140021" y="1203980"/>
                <a:ext cx="1187450" cy="748030"/>
              </a:xfrm>
              <a:custGeom>
                <a:avLst/>
                <a:gdLst/>
                <a:ahLst/>
                <a:cxnLst/>
                <a:rect l="l" t="t" r="r" b="b"/>
                <a:pathLst>
                  <a:path w="1187450" h="748030">
                    <a:moveTo>
                      <a:pt x="0" y="360451"/>
                    </a:moveTo>
                    <a:lnTo>
                      <a:pt x="0" y="646226"/>
                    </a:lnTo>
                    <a:lnTo>
                      <a:pt x="840054" y="747941"/>
                    </a:lnTo>
                    <a:lnTo>
                      <a:pt x="840054" y="0"/>
                    </a:lnTo>
                    <a:lnTo>
                      <a:pt x="0" y="360451"/>
                    </a:lnTo>
                    <a:close/>
                  </a:path>
                  <a:path w="1187450" h="748030">
                    <a:moveTo>
                      <a:pt x="840054" y="0"/>
                    </a:moveTo>
                    <a:lnTo>
                      <a:pt x="1186992" y="283857"/>
                    </a:lnTo>
                    <a:lnTo>
                      <a:pt x="1186992" y="660082"/>
                    </a:lnTo>
                    <a:lnTo>
                      <a:pt x="840054" y="747941"/>
                    </a:lnTo>
                    <a:lnTo>
                      <a:pt x="840054" y="0"/>
                    </a:lnTo>
                    <a:close/>
                  </a:path>
                </a:pathLst>
              </a:custGeom>
              <a:ln w="15494">
                <a:solidFill>
                  <a:schemeClr val="bg1"/>
                </a:solidFill>
              </a:ln>
            </p:spPr>
            <p:txBody>
              <a:bodyPr wrap="square" lIns="0" tIns="0" rIns="0" bIns="0" rtlCol="0"/>
              <a:lstStyle/>
              <a:p>
                <a:endParaRPr lang="de-DE" noProof="1"/>
              </a:p>
            </p:txBody>
          </p:sp>
          <p:sp>
            <p:nvSpPr>
              <p:cNvPr id="34" name="object 28">
                <a:extLst>
                  <a:ext uri="{FF2B5EF4-FFF2-40B4-BE49-F238E27FC236}">
                    <a16:creationId xmlns:a16="http://schemas.microsoft.com/office/drawing/2014/main" id="{48261221-E223-4B01-9914-CF179B296D7F}"/>
                  </a:ext>
                </a:extLst>
              </p:cNvPr>
              <p:cNvSpPr/>
              <p:nvPr/>
            </p:nvSpPr>
            <p:spPr>
              <a:xfrm>
                <a:off x="6980072" y="1238533"/>
                <a:ext cx="347345" cy="658495"/>
              </a:xfrm>
              <a:custGeom>
                <a:avLst/>
                <a:gdLst/>
                <a:ahLst/>
                <a:cxnLst/>
                <a:rect l="l" t="t" r="r" b="b"/>
                <a:pathLst>
                  <a:path w="347345" h="658494">
                    <a:moveTo>
                      <a:pt x="346938" y="564875"/>
                    </a:moveTo>
                    <a:lnTo>
                      <a:pt x="0" y="657966"/>
                    </a:lnTo>
                  </a:path>
                  <a:path w="347345" h="658494">
                    <a:moveTo>
                      <a:pt x="346938" y="506087"/>
                    </a:moveTo>
                    <a:lnTo>
                      <a:pt x="0" y="599178"/>
                    </a:lnTo>
                  </a:path>
                  <a:path w="347345" h="658494">
                    <a:moveTo>
                      <a:pt x="346938" y="447311"/>
                    </a:moveTo>
                    <a:lnTo>
                      <a:pt x="0" y="540402"/>
                    </a:lnTo>
                  </a:path>
                  <a:path w="347345" h="658494">
                    <a:moveTo>
                      <a:pt x="346938" y="388523"/>
                    </a:moveTo>
                    <a:lnTo>
                      <a:pt x="0" y="481614"/>
                    </a:lnTo>
                  </a:path>
                  <a:path w="347345" h="658494">
                    <a:moveTo>
                      <a:pt x="346938" y="329735"/>
                    </a:moveTo>
                    <a:lnTo>
                      <a:pt x="0" y="422826"/>
                    </a:lnTo>
                  </a:path>
                  <a:path w="347345" h="658494">
                    <a:moveTo>
                      <a:pt x="346938" y="270948"/>
                    </a:moveTo>
                    <a:lnTo>
                      <a:pt x="0" y="364046"/>
                    </a:lnTo>
                  </a:path>
                  <a:path w="347345" h="658494">
                    <a:moveTo>
                      <a:pt x="312757" y="221342"/>
                    </a:moveTo>
                    <a:lnTo>
                      <a:pt x="0" y="305262"/>
                    </a:lnTo>
                  </a:path>
                  <a:path w="347345" h="658494">
                    <a:moveTo>
                      <a:pt x="258651" y="177072"/>
                    </a:moveTo>
                    <a:lnTo>
                      <a:pt x="0" y="246473"/>
                    </a:lnTo>
                  </a:path>
                  <a:path w="347345" h="658494">
                    <a:moveTo>
                      <a:pt x="204545" y="132801"/>
                    </a:moveTo>
                    <a:lnTo>
                      <a:pt x="0" y="187685"/>
                    </a:lnTo>
                  </a:path>
                  <a:path w="347345" h="658494">
                    <a:moveTo>
                      <a:pt x="150450" y="88540"/>
                    </a:moveTo>
                    <a:lnTo>
                      <a:pt x="0" y="128910"/>
                    </a:lnTo>
                  </a:path>
                  <a:path w="347345" h="658494">
                    <a:moveTo>
                      <a:pt x="96344" y="44270"/>
                    </a:moveTo>
                    <a:lnTo>
                      <a:pt x="0" y="70121"/>
                    </a:lnTo>
                  </a:path>
                  <a:path w="347345" h="658494">
                    <a:moveTo>
                      <a:pt x="42238" y="0"/>
                    </a:moveTo>
                    <a:lnTo>
                      <a:pt x="0" y="11333"/>
                    </a:lnTo>
                  </a:path>
                </a:pathLst>
              </a:custGeom>
              <a:ln w="15494">
                <a:solidFill>
                  <a:schemeClr val="bg1"/>
                </a:solidFill>
              </a:ln>
            </p:spPr>
            <p:txBody>
              <a:bodyPr wrap="square" lIns="0" tIns="0" rIns="0" bIns="0" rtlCol="0"/>
              <a:lstStyle/>
              <a:p>
                <a:endParaRPr lang="de-DE" noProof="1"/>
              </a:p>
            </p:txBody>
          </p:sp>
          <p:sp>
            <p:nvSpPr>
              <p:cNvPr id="35" name="object 29">
                <a:extLst>
                  <a:ext uri="{FF2B5EF4-FFF2-40B4-BE49-F238E27FC236}">
                    <a16:creationId xmlns:a16="http://schemas.microsoft.com/office/drawing/2014/main" id="{1911246B-6D35-45C2-A44A-4649806474B0}"/>
                  </a:ext>
                </a:extLst>
              </p:cNvPr>
              <p:cNvSpPr/>
              <p:nvPr/>
            </p:nvSpPr>
            <p:spPr>
              <a:xfrm>
                <a:off x="6368268" y="1641135"/>
                <a:ext cx="261620" cy="273050"/>
              </a:xfrm>
              <a:custGeom>
                <a:avLst/>
                <a:gdLst/>
                <a:ahLst/>
                <a:cxnLst/>
                <a:rect l="l" t="t" r="r" b="b"/>
                <a:pathLst>
                  <a:path w="261620" h="273050">
                    <a:moveTo>
                      <a:pt x="0" y="230250"/>
                    </a:moveTo>
                    <a:lnTo>
                      <a:pt x="0" y="59816"/>
                    </a:lnTo>
                    <a:lnTo>
                      <a:pt x="261480" y="0"/>
                    </a:lnTo>
                    <a:lnTo>
                      <a:pt x="261480" y="272618"/>
                    </a:lnTo>
                  </a:path>
                </a:pathLst>
              </a:custGeom>
              <a:ln w="15494">
                <a:solidFill>
                  <a:schemeClr val="bg1"/>
                </a:solidFill>
              </a:ln>
            </p:spPr>
            <p:txBody>
              <a:bodyPr wrap="square" lIns="0" tIns="0" rIns="0" bIns="0" rtlCol="0"/>
              <a:lstStyle/>
              <a:p>
                <a:endParaRPr lang="de-DE" noProof="1"/>
              </a:p>
            </p:txBody>
          </p:sp>
        </p:grpSp>
        <p:sp>
          <p:nvSpPr>
            <p:cNvPr id="37" name="object 31">
              <a:extLst>
                <a:ext uri="{FF2B5EF4-FFF2-40B4-BE49-F238E27FC236}">
                  <a16:creationId xmlns:a16="http://schemas.microsoft.com/office/drawing/2014/main" id="{47BB7E86-B0E7-486C-AFF3-D6E6B2A57EA9}"/>
                </a:ext>
              </a:extLst>
            </p:cNvPr>
            <p:cNvSpPr/>
            <p:nvPr/>
          </p:nvSpPr>
          <p:spPr>
            <a:xfrm>
              <a:off x="4791833" y="3488601"/>
              <a:ext cx="931544" cy="749300"/>
            </a:xfrm>
            <a:custGeom>
              <a:avLst/>
              <a:gdLst/>
              <a:ahLst/>
              <a:cxnLst/>
              <a:rect l="l" t="t" r="r" b="b"/>
              <a:pathLst>
                <a:path w="931545" h="749300">
                  <a:moveTo>
                    <a:pt x="0" y="461632"/>
                  </a:moveTo>
                  <a:lnTo>
                    <a:pt x="0" y="635457"/>
                  </a:lnTo>
                  <a:lnTo>
                    <a:pt x="623252" y="749122"/>
                  </a:lnTo>
                  <a:lnTo>
                    <a:pt x="623252" y="194195"/>
                  </a:lnTo>
                  <a:lnTo>
                    <a:pt x="0" y="461632"/>
                  </a:lnTo>
                  <a:close/>
                </a:path>
                <a:path w="931545" h="749300">
                  <a:moveTo>
                    <a:pt x="623252" y="194195"/>
                  </a:moveTo>
                  <a:lnTo>
                    <a:pt x="880656" y="404799"/>
                  </a:lnTo>
                  <a:lnTo>
                    <a:pt x="880656" y="683933"/>
                  </a:lnTo>
                  <a:lnTo>
                    <a:pt x="623252" y="749122"/>
                  </a:lnTo>
                  <a:lnTo>
                    <a:pt x="623252" y="194195"/>
                  </a:lnTo>
                  <a:close/>
                </a:path>
                <a:path w="931545" h="749300">
                  <a:moveTo>
                    <a:pt x="169341" y="666343"/>
                  </a:moveTo>
                  <a:lnTo>
                    <a:pt x="169341" y="562914"/>
                  </a:lnTo>
                  <a:lnTo>
                    <a:pt x="363334" y="518540"/>
                  </a:lnTo>
                  <a:lnTo>
                    <a:pt x="363334" y="702856"/>
                  </a:lnTo>
                </a:path>
                <a:path w="931545" h="749300">
                  <a:moveTo>
                    <a:pt x="315264" y="321690"/>
                  </a:moveTo>
                  <a:lnTo>
                    <a:pt x="319224" y="292513"/>
                  </a:lnTo>
                  <a:lnTo>
                    <a:pt x="318784" y="232260"/>
                  </a:lnTo>
                  <a:lnTo>
                    <a:pt x="316584" y="172765"/>
                  </a:lnTo>
                  <a:lnTo>
                    <a:pt x="315264" y="145859"/>
                  </a:lnTo>
                  <a:lnTo>
                    <a:pt x="622236" y="0"/>
                  </a:lnTo>
                  <a:lnTo>
                    <a:pt x="931240" y="210692"/>
                  </a:lnTo>
                  <a:lnTo>
                    <a:pt x="931240" y="673925"/>
                  </a:lnTo>
                  <a:lnTo>
                    <a:pt x="880656" y="683933"/>
                  </a:lnTo>
                </a:path>
                <a:path w="931545" h="749300">
                  <a:moveTo>
                    <a:pt x="623252" y="0"/>
                  </a:moveTo>
                  <a:lnTo>
                    <a:pt x="623252" y="194195"/>
                  </a:lnTo>
                </a:path>
              </a:pathLst>
            </a:custGeom>
            <a:ln w="11493">
              <a:solidFill>
                <a:schemeClr val="bg1"/>
              </a:solidFill>
            </a:ln>
          </p:spPr>
          <p:txBody>
            <a:bodyPr wrap="square" lIns="0" tIns="0" rIns="0" bIns="0" rtlCol="0"/>
            <a:lstStyle/>
            <a:p>
              <a:endParaRPr lang="de-DE" noProof="1"/>
            </a:p>
          </p:txBody>
        </p:sp>
        <p:sp>
          <p:nvSpPr>
            <p:cNvPr id="38" name="object 32">
              <a:extLst>
                <a:ext uri="{FF2B5EF4-FFF2-40B4-BE49-F238E27FC236}">
                  <a16:creationId xmlns:a16="http://schemas.microsoft.com/office/drawing/2014/main" id="{9BB036DE-D44F-4451-9D4D-1A59B4A7FFA6}"/>
                </a:ext>
              </a:extLst>
            </p:cNvPr>
            <p:cNvSpPr/>
            <p:nvPr/>
          </p:nvSpPr>
          <p:spPr>
            <a:xfrm>
              <a:off x="5412106" y="3913558"/>
              <a:ext cx="257810" cy="287655"/>
            </a:xfrm>
            <a:custGeom>
              <a:avLst/>
              <a:gdLst/>
              <a:ahLst/>
              <a:cxnLst/>
              <a:rect l="l" t="t" r="r" b="b"/>
              <a:pathLst>
                <a:path w="257810" h="287654">
                  <a:moveTo>
                    <a:pt x="257403" y="218069"/>
                  </a:moveTo>
                  <a:lnTo>
                    <a:pt x="0" y="287133"/>
                  </a:lnTo>
                </a:path>
                <a:path w="257810" h="287654">
                  <a:moveTo>
                    <a:pt x="257403" y="174458"/>
                  </a:moveTo>
                  <a:lnTo>
                    <a:pt x="0" y="243521"/>
                  </a:lnTo>
                </a:path>
                <a:path w="257810" h="287654">
                  <a:moveTo>
                    <a:pt x="257403" y="130846"/>
                  </a:moveTo>
                  <a:lnTo>
                    <a:pt x="0" y="199910"/>
                  </a:lnTo>
                </a:path>
                <a:path w="257810" h="287654">
                  <a:moveTo>
                    <a:pt x="257403" y="87234"/>
                  </a:moveTo>
                  <a:lnTo>
                    <a:pt x="0" y="156298"/>
                  </a:lnTo>
                </a:path>
                <a:path w="257810" h="287654">
                  <a:moveTo>
                    <a:pt x="257403" y="43611"/>
                  </a:moveTo>
                  <a:lnTo>
                    <a:pt x="0" y="112682"/>
                  </a:lnTo>
                </a:path>
                <a:path w="257810" h="287654">
                  <a:moveTo>
                    <a:pt x="257403" y="0"/>
                  </a:moveTo>
                  <a:lnTo>
                    <a:pt x="0" y="69070"/>
                  </a:lnTo>
                </a:path>
              </a:pathLst>
            </a:custGeom>
            <a:ln w="11493">
              <a:solidFill>
                <a:schemeClr val="bg1"/>
              </a:solidFill>
            </a:ln>
          </p:spPr>
          <p:txBody>
            <a:bodyPr wrap="square" lIns="0" tIns="0" rIns="0" bIns="0" rtlCol="0"/>
            <a:lstStyle/>
            <a:p>
              <a:endParaRPr lang="de-DE" noProof="1"/>
            </a:p>
          </p:txBody>
        </p:sp>
        <p:pic>
          <p:nvPicPr>
            <p:cNvPr id="39" name="object 33">
              <a:extLst>
                <a:ext uri="{FF2B5EF4-FFF2-40B4-BE49-F238E27FC236}">
                  <a16:creationId xmlns:a16="http://schemas.microsoft.com/office/drawing/2014/main" id="{8AD18ED5-AAA3-4F26-8FF8-C81F6C17B569}"/>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5406360" y="3706793"/>
              <a:ext cx="243545" cy="237970"/>
            </a:xfrm>
            <a:prstGeom prst="rect">
              <a:avLst/>
            </a:prstGeom>
            <a:ln>
              <a:noFill/>
            </a:ln>
          </p:spPr>
        </p:pic>
        <p:sp>
          <p:nvSpPr>
            <p:cNvPr id="42" name="object 36">
              <a:extLst>
                <a:ext uri="{FF2B5EF4-FFF2-40B4-BE49-F238E27FC236}">
                  <a16:creationId xmlns:a16="http://schemas.microsoft.com/office/drawing/2014/main" id="{5E7F7F36-1CC9-4EC7-82CD-D57920D595D1}"/>
                </a:ext>
              </a:extLst>
            </p:cNvPr>
            <p:cNvSpPr txBox="1"/>
            <p:nvPr/>
          </p:nvSpPr>
          <p:spPr>
            <a:xfrm>
              <a:off x="6382603" y="5360477"/>
              <a:ext cx="978535" cy="320601"/>
            </a:xfrm>
            <a:prstGeom prst="rect">
              <a:avLst/>
            </a:prstGeom>
            <a:ln>
              <a:noFill/>
            </a:ln>
          </p:spPr>
          <p:txBody>
            <a:bodyPr vert="horz" wrap="square" lIns="0" tIns="12700" rIns="0" bIns="0" rtlCol="0">
              <a:spAutoFit/>
            </a:bodyPr>
            <a:lstStyle/>
            <a:p>
              <a:pPr marL="12700" marR="5080" algn="ctr">
                <a:lnSpc>
                  <a:spcPct val="100000"/>
                </a:lnSpc>
                <a:spcBef>
                  <a:spcPts val="100"/>
                </a:spcBef>
              </a:pPr>
              <a:r>
                <a:rPr lang="de-DE" sz="1000" spc="-10" noProof="1">
                  <a:solidFill>
                    <a:srgbClr val="FFFFFF"/>
                  </a:solidFill>
                  <a:latin typeface="BMWGroupTN Condensed"/>
                  <a:cs typeface="BMWGroupTN Condensed"/>
                </a:rPr>
                <a:t>Maecenas porttitor congue massa</a:t>
              </a:r>
              <a:endParaRPr lang="de-DE" sz="1000" noProof="1">
                <a:latin typeface="BMWGroupTN Condensed"/>
                <a:cs typeface="BMWGroupTN Condensed"/>
              </a:endParaRPr>
            </a:p>
          </p:txBody>
        </p:sp>
        <p:sp>
          <p:nvSpPr>
            <p:cNvPr id="48" name="object 36">
              <a:extLst>
                <a:ext uri="{FF2B5EF4-FFF2-40B4-BE49-F238E27FC236}">
                  <a16:creationId xmlns:a16="http://schemas.microsoft.com/office/drawing/2014/main" id="{D0143E31-6968-45DF-93E9-0545A7FB9999}"/>
                </a:ext>
              </a:extLst>
            </p:cNvPr>
            <p:cNvSpPr txBox="1"/>
            <p:nvPr/>
          </p:nvSpPr>
          <p:spPr>
            <a:xfrm>
              <a:off x="4742419" y="4322257"/>
              <a:ext cx="978535" cy="320601"/>
            </a:xfrm>
            <a:prstGeom prst="rect">
              <a:avLst/>
            </a:prstGeom>
            <a:ln>
              <a:noFill/>
            </a:ln>
          </p:spPr>
          <p:txBody>
            <a:bodyPr vert="horz" wrap="square" lIns="0" tIns="12700" rIns="0" bIns="0" rtlCol="0">
              <a:spAutoFit/>
            </a:bodyPr>
            <a:lstStyle>
              <a:defPPr>
                <a:defRPr lang="de-DE"/>
              </a:defPPr>
              <a:lvl1pPr marL="12700" marR="5080">
                <a:lnSpc>
                  <a:spcPct val="100000"/>
                </a:lnSpc>
                <a:spcBef>
                  <a:spcPts val="100"/>
                </a:spcBef>
                <a:defRPr sz="1000" spc="-10">
                  <a:solidFill>
                    <a:srgbClr val="FFFFFF"/>
                  </a:solidFill>
                  <a:latin typeface="BMWGroupTN Condensed"/>
                  <a:cs typeface="BMWGroupTN Condensed"/>
                </a:defRPr>
              </a:lvl1pPr>
            </a:lstStyle>
            <a:p>
              <a:pPr algn="ctr"/>
              <a:r>
                <a:rPr lang="da-DK" noProof="1"/>
                <a:t>Lorem ipsum dolor sit amet</a:t>
              </a:r>
              <a:endParaRPr lang="de-DE" noProof="1"/>
            </a:p>
          </p:txBody>
        </p:sp>
        <p:sp>
          <p:nvSpPr>
            <p:cNvPr id="49" name="object 36">
              <a:extLst>
                <a:ext uri="{FF2B5EF4-FFF2-40B4-BE49-F238E27FC236}">
                  <a16:creationId xmlns:a16="http://schemas.microsoft.com/office/drawing/2014/main" id="{CF873EFC-53D1-4F68-90CD-A3535E50401D}"/>
                </a:ext>
              </a:extLst>
            </p:cNvPr>
            <p:cNvSpPr txBox="1"/>
            <p:nvPr/>
          </p:nvSpPr>
          <p:spPr>
            <a:xfrm>
              <a:off x="7470078" y="4034420"/>
              <a:ext cx="978535" cy="320601"/>
            </a:xfrm>
            <a:prstGeom prst="rect">
              <a:avLst/>
            </a:prstGeom>
            <a:ln>
              <a:noFill/>
            </a:ln>
          </p:spPr>
          <p:txBody>
            <a:bodyPr vert="horz" wrap="square" lIns="0" tIns="12700" rIns="0" bIns="0" rtlCol="0">
              <a:spAutoFit/>
            </a:bodyPr>
            <a:lstStyle/>
            <a:p>
              <a:pPr marL="12700" marR="5080" algn="ctr">
                <a:lnSpc>
                  <a:spcPct val="100000"/>
                </a:lnSpc>
                <a:spcBef>
                  <a:spcPts val="100"/>
                </a:spcBef>
              </a:pPr>
              <a:r>
                <a:rPr lang="it-IT" sz="1000" spc="-10" noProof="1">
                  <a:solidFill>
                    <a:srgbClr val="FFFFFF"/>
                  </a:solidFill>
                  <a:latin typeface="BMWGroupTN Condensed"/>
                  <a:cs typeface="BMWGroupTN Condensed"/>
                </a:rPr>
                <a:t>Fusce posuere, magna sed pulvinar </a:t>
              </a:r>
              <a:endParaRPr lang="de-DE" sz="1000" noProof="1">
                <a:latin typeface="BMWGroupTN Condensed"/>
                <a:cs typeface="BMWGroupTN Condensed"/>
              </a:endParaRPr>
            </a:p>
          </p:txBody>
        </p:sp>
        <p:sp>
          <p:nvSpPr>
            <p:cNvPr id="50" name="object 36">
              <a:extLst>
                <a:ext uri="{FF2B5EF4-FFF2-40B4-BE49-F238E27FC236}">
                  <a16:creationId xmlns:a16="http://schemas.microsoft.com/office/drawing/2014/main" id="{BBFA1F1F-19A6-4412-BED9-3CD17EA36F99}"/>
                </a:ext>
              </a:extLst>
            </p:cNvPr>
            <p:cNvSpPr txBox="1"/>
            <p:nvPr/>
          </p:nvSpPr>
          <p:spPr>
            <a:xfrm>
              <a:off x="8575178" y="5303678"/>
              <a:ext cx="978535" cy="320601"/>
            </a:xfrm>
            <a:prstGeom prst="rect">
              <a:avLst/>
            </a:prstGeom>
            <a:ln>
              <a:noFill/>
            </a:ln>
          </p:spPr>
          <p:txBody>
            <a:bodyPr vert="horz" wrap="square" lIns="0" tIns="12700" rIns="0" bIns="0" rtlCol="0">
              <a:spAutoFit/>
            </a:bodyPr>
            <a:lstStyle/>
            <a:p>
              <a:pPr marL="12700" marR="5080" algn="ctr">
                <a:lnSpc>
                  <a:spcPct val="100000"/>
                </a:lnSpc>
                <a:spcBef>
                  <a:spcPts val="100"/>
                </a:spcBef>
              </a:pPr>
              <a:r>
                <a:rPr lang="de-DE" sz="1000" spc="-10" noProof="1">
                  <a:solidFill>
                    <a:srgbClr val="FFFFFF"/>
                  </a:solidFill>
                  <a:latin typeface="BMWGroupTN Condensed"/>
                  <a:cs typeface="BMWGroupTN Condensed"/>
                </a:rPr>
                <a:t>Nunc viverra imperdiet enim</a:t>
              </a:r>
              <a:endParaRPr lang="de-DE" sz="1000" noProof="1">
                <a:latin typeface="BMWGroupTN Condensed"/>
                <a:cs typeface="BMWGroupTN Condensed"/>
              </a:endParaRPr>
            </a:p>
          </p:txBody>
        </p:sp>
        <p:sp>
          <p:nvSpPr>
            <p:cNvPr id="51" name="object 36">
              <a:extLst>
                <a:ext uri="{FF2B5EF4-FFF2-40B4-BE49-F238E27FC236}">
                  <a16:creationId xmlns:a16="http://schemas.microsoft.com/office/drawing/2014/main" id="{C59AF90E-8D78-4545-82F2-6CBBE3287C05}"/>
                </a:ext>
              </a:extLst>
            </p:cNvPr>
            <p:cNvSpPr txBox="1"/>
            <p:nvPr/>
          </p:nvSpPr>
          <p:spPr>
            <a:xfrm>
              <a:off x="10028186" y="4057304"/>
              <a:ext cx="978535" cy="474489"/>
            </a:xfrm>
            <a:prstGeom prst="rect">
              <a:avLst/>
            </a:prstGeom>
            <a:ln>
              <a:noFill/>
            </a:ln>
          </p:spPr>
          <p:txBody>
            <a:bodyPr vert="horz" wrap="square" lIns="0" tIns="12700" rIns="0" bIns="0" rtlCol="0">
              <a:spAutoFit/>
            </a:bodyPr>
            <a:lstStyle/>
            <a:p>
              <a:pPr marL="12700" marR="5080" algn="ctr">
                <a:lnSpc>
                  <a:spcPct val="100000"/>
                </a:lnSpc>
                <a:spcBef>
                  <a:spcPts val="100"/>
                </a:spcBef>
              </a:pPr>
              <a:r>
                <a:rPr lang="fr-FR" sz="1000" spc="-10" noProof="1">
                  <a:solidFill>
                    <a:srgbClr val="FFFFFF"/>
                  </a:solidFill>
                  <a:latin typeface="BMWGroupTN Condensed"/>
                  <a:cs typeface="BMWGroupTN Condensed"/>
                </a:rPr>
                <a:t>Pellentesque habitant morbi tristique senectus</a:t>
              </a:r>
              <a:endParaRPr lang="de-DE" sz="1000" noProof="1">
                <a:latin typeface="BMWGroupTN Condensed"/>
                <a:cs typeface="BMWGroupTN Condensed"/>
              </a:endParaRPr>
            </a:p>
          </p:txBody>
        </p:sp>
      </p:grpSp>
      <p:cxnSp>
        <p:nvCxnSpPr>
          <p:cNvPr id="46" name="Gerader Verbinder 45">
            <a:extLst>
              <a:ext uri="{FF2B5EF4-FFF2-40B4-BE49-F238E27FC236}">
                <a16:creationId xmlns:a16="http://schemas.microsoft.com/office/drawing/2014/main" id="{1CCF03C1-BEDD-4A48-A1E9-68D3321C8EB9}"/>
              </a:ext>
            </a:extLst>
          </p:cNvPr>
          <p:cNvCxnSpPr>
            <a:cxnSpLocks/>
          </p:cNvCxnSpPr>
          <p:nvPr/>
        </p:nvCxnSpPr>
        <p:spPr>
          <a:xfrm>
            <a:off x="479425" y="1412875"/>
            <a:ext cx="3259198" cy="11499"/>
          </a:xfrm>
          <a:prstGeom prst="line">
            <a:avLst/>
          </a:prstGeom>
          <a:ln w="28575">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F971BFD8-6712-4DE7-9A9C-BCDA0244DA2B}"/>
              </a:ext>
            </a:extLst>
          </p:cNvPr>
          <p:cNvSpPr txBox="1"/>
          <p:nvPr/>
        </p:nvSpPr>
        <p:spPr>
          <a:xfrm>
            <a:off x="488947" y="1549293"/>
            <a:ext cx="3249676" cy="3760773"/>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Nunc viverra imperdiet enim. </a:t>
            </a:r>
            <a:br>
              <a:rPr lang="de-DE" kern="1200" noProof="1">
                <a:solidFill>
                  <a:srgbClr val="000000"/>
                </a:solidFill>
                <a:latin typeface="+mn-lt"/>
                <a:ea typeface="+mn-ea"/>
                <a:cs typeface="+mn-cs"/>
              </a:rPr>
            </a:br>
            <a:r>
              <a:rPr lang="de-DE" kern="1200" noProof="1">
                <a:solidFill>
                  <a:srgbClr val="000000"/>
                </a:solidFill>
                <a:latin typeface="+mn-lt"/>
                <a:ea typeface="+mn-ea"/>
                <a:cs typeface="+mn-cs"/>
              </a:rPr>
              <a:t>Fusce est. Vivamus a tellus.</a:t>
            </a:r>
          </a:p>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Pellentesque habitant morbi tristique senectus et netus et malesuada fames ac turpis egestas. Proin pharetra nonummy pede. Mauris et orci.</a:t>
            </a:r>
          </a:p>
        </p:txBody>
      </p:sp>
    </p:spTree>
    <p:extLst>
      <p:ext uri="{BB962C8B-B14F-4D97-AF65-F5344CB8AC3E}">
        <p14:creationId xmlns:p14="http://schemas.microsoft.com/office/powerpoint/2010/main" val="42797478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F12CEA1-8596-4CC7-B89F-B98B21F34A94}"/>
              </a:ext>
            </a:extLst>
          </p:cNvPr>
          <p:cNvGraphicFramePr>
            <a:graphicFrameLocks noChangeAspect="1"/>
          </p:cNvGraphicFramePr>
          <p:nvPr>
            <p:custDataLst>
              <p:tags r:id="rId1"/>
            </p:custDataLst>
            <p:extLst>
              <p:ext uri="{D42A27DB-BD31-4B8C-83A1-F6EECF244321}">
                <p14:modId xmlns:p14="http://schemas.microsoft.com/office/powerpoint/2010/main" val="1253372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9" name="Objekt 8" hidden="1">
                        <a:extLst>
                          <a:ext uri="{FF2B5EF4-FFF2-40B4-BE49-F238E27FC236}">
                            <a16:creationId xmlns:a16="http://schemas.microsoft.com/office/drawing/2014/main" id="{9F12CEA1-8596-4CC7-B89F-B98B21F34A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Grafik 20">
            <a:extLst>
              <a:ext uri="{FF2B5EF4-FFF2-40B4-BE49-F238E27FC236}">
                <a16:creationId xmlns:a16="http://schemas.microsoft.com/office/drawing/2014/main" id="{DED0A581-E7AA-4D89-94DD-6E9D226F0D9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341556" y="1420401"/>
            <a:ext cx="2668524" cy="4888324"/>
          </a:xfrm>
          <a:prstGeom prst="rect">
            <a:avLst/>
          </a:prstGeom>
        </p:spPr>
      </p:pic>
      <p:pic>
        <p:nvPicPr>
          <p:cNvPr id="23" name="Grafik 22">
            <a:extLst>
              <a:ext uri="{FF2B5EF4-FFF2-40B4-BE49-F238E27FC236}">
                <a16:creationId xmlns:a16="http://schemas.microsoft.com/office/drawing/2014/main" id="{A96A41DB-85E2-4F43-AFDA-6D335EEB7DB9}"/>
              </a:ext>
            </a:extLst>
          </p:cNvPr>
          <p:cNvPicPr>
            <a:picLocks/>
          </p:cNvPicPr>
          <p:nvPr/>
        </p:nvPicPr>
        <p:blipFill rotWithShape="1">
          <a:blip r:embed="rId7" cstate="print">
            <a:extLst>
              <a:ext uri="{28A0092B-C50C-407E-A947-70E740481C1C}">
                <a14:useLocalDpi xmlns:a14="http://schemas.microsoft.com/office/drawing/2010/main" val="0"/>
              </a:ext>
            </a:extLst>
          </a:blip>
          <a:srcRect/>
          <a:stretch/>
        </p:blipFill>
        <p:spPr>
          <a:xfrm>
            <a:off x="9045107" y="1413932"/>
            <a:ext cx="2668524" cy="4888324"/>
          </a:xfrm>
          <a:prstGeom prst="rect">
            <a:avLst/>
          </a:prstGeom>
        </p:spPr>
      </p:pic>
      <p:sp>
        <p:nvSpPr>
          <p:cNvPr id="2" name="Titel 1">
            <a:extLst>
              <a:ext uri="{FF2B5EF4-FFF2-40B4-BE49-F238E27FC236}">
                <a16:creationId xmlns:a16="http://schemas.microsoft.com/office/drawing/2014/main" id="{C7605BA9-7D92-4943-B846-FDF311147FB9}"/>
              </a:ext>
            </a:extLst>
          </p:cNvPr>
          <p:cNvSpPr>
            <a:spLocks noGrp="1"/>
          </p:cNvSpPr>
          <p:nvPr>
            <p:ph type="title"/>
          </p:nvPr>
        </p:nvSpPr>
        <p:spPr/>
        <p:txBody>
          <a:bodyPr/>
          <a:lstStyle/>
          <a:p>
            <a:endParaRPr lang="de-DE" noProof="1"/>
          </a:p>
        </p:txBody>
      </p:sp>
      <p:cxnSp>
        <p:nvCxnSpPr>
          <p:cNvPr id="12" name="Gerader Verbinder 11">
            <a:extLst>
              <a:ext uri="{FF2B5EF4-FFF2-40B4-BE49-F238E27FC236}">
                <a16:creationId xmlns:a16="http://schemas.microsoft.com/office/drawing/2014/main" id="{13FFB1EC-6B70-4402-9E51-94A9E1DC98B4}"/>
              </a:ext>
            </a:extLst>
          </p:cNvPr>
          <p:cNvCxnSpPr>
            <a:cxnSpLocks/>
          </p:cNvCxnSpPr>
          <p:nvPr/>
        </p:nvCxnSpPr>
        <p:spPr>
          <a:xfrm>
            <a:off x="479425" y="1412875"/>
            <a:ext cx="2680769" cy="0"/>
          </a:xfrm>
          <a:prstGeom prst="line">
            <a:avLst/>
          </a:prstGeom>
          <a:ln w="28575">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97D28243-54A5-4B58-A62C-D47554AE3202}"/>
              </a:ext>
            </a:extLst>
          </p:cNvPr>
          <p:cNvCxnSpPr>
            <a:cxnSpLocks/>
          </p:cNvCxnSpPr>
          <p:nvPr/>
        </p:nvCxnSpPr>
        <p:spPr>
          <a:xfrm>
            <a:off x="6181921" y="1420400"/>
            <a:ext cx="2680769" cy="0"/>
          </a:xfrm>
          <a:prstGeom prst="line">
            <a:avLst/>
          </a:prstGeom>
          <a:ln w="28575">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03093964-8B1A-4A93-8192-7A3D65C45772}"/>
              </a:ext>
            </a:extLst>
          </p:cNvPr>
          <p:cNvSpPr txBox="1"/>
          <p:nvPr/>
        </p:nvSpPr>
        <p:spPr>
          <a:xfrm>
            <a:off x="488947" y="1549293"/>
            <a:ext cx="2680769" cy="2653290"/>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Nunc viverra imperdiet enim. Fusce est. Vivamus a tellus.</a:t>
            </a:r>
          </a:p>
        </p:txBody>
      </p:sp>
      <p:sp>
        <p:nvSpPr>
          <p:cNvPr id="19" name="Textfeld 18">
            <a:extLst>
              <a:ext uri="{FF2B5EF4-FFF2-40B4-BE49-F238E27FC236}">
                <a16:creationId xmlns:a16="http://schemas.microsoft.com/office/drawing/2014/main" id="{518C401E-31B1-47ED-A329-C79F4AEEC6AB}"/>
              </a:ext>
            </a:extLst>
          </p:cNvPr>
          <p:cNvSpPr txBox="1"/>
          <p:nvPr/>
        </p:nvSpPr>
        <p:spPr>
          <a:xfrm>
            <a:off x="6181921" y="1549293"/>
            <a:ext cx="2680769" cy="2061077"/>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kern="1200" noProof="1">
                <a:solidFill>
                  <a:srgbClr val="000000"/>
                </a:solidFill>
                <a:latin typeface="+mn-lt"/>
                <a:ea typeface="+mn-ea"/>
                <a:cs typeface="+mn-cs"/>
              </a:rPr>
              <a:t>Lorem ipsum dolor sit amet, consectetuer adipiscing elit. 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4598339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4547690D-CF16-4ED4-A8BB-1581F75FCE01}"/>
              </a:ext>
            </a:extLst>
          </p:cNvPr>
          <p:cNvGraphicFramePr>
            <a:graphicFrameLocks noChangeAspect="1"/>
          </p:cNvGraphicFramePr>
          <p:nvPr>
            <p:custDataLst>
              <p:tags r:id="rId1"/>
            </p:custDataLst>
            <p:extLst>
              <p:ext uri="{D42A27DB-BD31-4B8C-83A1-F6EECF244321}">
                <p14:modId xmlns:p14="http://schemas.microsoft.com/office/powerpoint/2010/main" val="274808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9" name="Objekt 18" hidden="1">
                        <a:extLst>
                          <a:ext uri="{FF2B5EF4-FFF2-40B4-BE49-F238E27FC236}">
                            <a16:creationId xmlns:a16="http://schemas.microsoft.com/office/drawing/2014/main" id="{4547690D-CF16-4ED4-A8BB-1581F75FCE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 name="Grafik 30">
            <a:extLst>
              <a:ext uri="{FF2B5EF4-FFF2-40B4-BE49-F238E27FC236}">
                <a16:creationId xmlns:a16="http://schemas.microsoft.com/office/drawing/2014/main" id="{5A610412-16D1-4007-883F-321D8F0905C9}"/>
              </a:ext>
            </a:extLst>
          </p:cNvPr>
          <p:cNvPicPr>
            <a:picLocks/>
          </p:cNvPicPr>
          <p:nvPr/>
        </p:nvPicPr>
        <p:blipFill rotWithShape="1">
          <a:blip r:embed="rId6" cstate="print">
            <a:extLst>
              <a:ext uri="{28A0092B-C50C-407E-A947-70E740481C1C}">
                <a14:useLocalDpi xmlns:a14="http://schemas.microsoft.com/office/drawing/2010/main" val="0"/>
              </a:ext>
            </a:extLst>
          </a:blip>
          <a:srcRect/>
          <a:stretch/>
        </p:blipFill>
        <p:spPr>
          <a:xfrm>
            <a:off x="8772521" y="1549293"/>
            <a:ext cx="2940054" cy="1056488"/>
          </a:xfrm>
          <a:prstGeom prst="rect">
            <a:avLst/>
          </a:prstGeom>
        </p:spPr>
      </p:pic>
      <p:pic>
        <p:nvPicPr>
          <p:cNvPr id="33" name="Grafik 32">
            <a:extLst>
              <a:ext uri="{FF2B5EF4-FFF2-40B4-BE49-F238E27FC236}">
                <a16:creationId xmlns:a16="http://schemas.microsoft.com/office/drawing/2014/main" id="{E9C772D3-270A-4C62-AB63-159C17C6397B}"/>
              </a:ext>
            </a:extLst>
          </p:cNvPr>
          <p:cNvPicPr>
            <a:picLocks/>
          </p:cNvPicPr>
          <p:nvPr/>
        </p:nvPicPr>
        <p:blipFill rotWithShape="1">
          <a:blip r:embed="rId7" cstate="print">
            <a:extLst>
              <a:ext uri="{28A0092B-C50C-407E-A947-70E740481C1C}">
                <a14:useLocalDpi xmlns:a14="http://schemas.microsoft.com/office/drawing/2010/main" val="0"/>
              </a:ext>
            </a:extLst>
          </a:blip>
          <a:srcRect/>
          <a:stretch/>
        </p:blipFill>
        <p:spPr>
          <a:xfrm>
            <a:off x="8772521" y="5124439"/>
            <a:ext cx="2940054" cy="1056488"/>
          </a:xfrm>
          <a:prstGeom prst="rect">
            <a:avLst/>
          </a:prstGeom>
        </p:spPr>
      </p:pic>
      <p:pic>
        <p:nvPicPr>
          <p:cNvPr id="35" name="Grafik 34">
            <a:extLst>
              <a:ext uri="{FF2B5EF4-FFF2-40B4-BE49-F238E27FC236}">
                <a16:creationId xmlns:a16="http://schemas.microsoft.com/office/drawing/2014/main" id="{37F8E0FF-F958-4191-93D9-A546E8BDF56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8762546" y="2742199"/>
            <a:ext cx="2940054" cy="1052916"/>
          </a:xfrm>
          <a:prstGeom prst="rect">
            <a:avLst/>
          </a:prstGeom>
        </p:spPr>
      </p:pic>
      <p:pic>
        <p:nvPicPr>
          <p:cNvPr id="37" name="Grafik 36">
            <a:extLst>
              <a:ext uri="{FF2B5EF4-FFF2-40B4-BE49-F238E27FC236}">
                <a16:creationId xmlns:a16="http://schemas.microsoft.com/office/drawing/2014/main" id="{DC4B423C-113C-4290-9948-256A76BC63D9}"/>
              </a:ext>
            </a:extLst>
          </p:cNvPr>
          <p:cNvPicPr>
            <a:picLocks/>
          </p:cNvPicPr>
          <p:nvPr/>
        </p:nvPicPr>
        <p:blipFill rotWithShape="1">
          <a:blip r:embed="rId9" cstate="print">
            <a:extLst>
              <a:ext uri="{28A0092B-C50C-407E-A947-70E740481C1C}">
                <a14:useLocalDpi xmlns:a14="http://schemas.microsoft.com/office/drawing/2010/main" val="0"/>
              </a:ext>
            </a:extLst>
          </a:blip>
          <a:srcRect/>
          <a:stretch/>
        </p:blipFill>
        <p:spPr>
          <a:xfrm>
            <a:off x="8762547" y="3931533"/>
            <a:ext cx="2940054" cy="1056488"/>
          </a:xfrm>
          <a:prstGeom prst="rect">
            <a:avLst/>
          </a:prstGeom>
        </p:spPr>
      </p:pic>
      <p:sp>
        <p:nvSpPr>
          <p:cNvPr id="2" name="Titel 1">
            <a:extLst>
              <a:ext uri="{FF2B5EF4-FFF2-40B4-BE49-F238E27FC236}">
                <a16:creationId xmlns:a16="http://schemas.microsoft.com/office/drawing/2014/main" id="{E9DCFCCB-F3F4-4FE9-9AF7-FE61F5162099}"/>
              </a:ext>
            </a:extLst>
          </p:cNvPr>
          <p:cNvSpPr>
            <a:spLocks noGrp="1"/>
          </p:cNvSpPr>
          <p:nvPr>
            <p:ph type="title"/>
          </p:nvPr>
        </p:nvSpPr>
        <p:spPr/>
        <p:txBody>
          <a:bodyPr/>
          <a:lstStyle/>
          <a:p>
            <a:endParaRPr lang="de-DE" noProof="1"/>
          </a:p>
        </p:txBody>
      </p:sp>
      <p:sp>
        <p:nvSpPr>
          <p:cNvPr id="4" name="Textfeld 3">
            <a:extLst>
              <a:ext uri="{FF2B5EF4-FFF2-40B4-BE49-F238E27FC236}">
                <a16:creationId xmlns:a16="http://schemas.microsoft.com/office/drawing/2014/main" id="{ECE8308B-DF29-4B62-B5D0-CEFFEC588236}"/>
              </a:ext>
            </a:extLst>
          </p:cNvPr>
          <p:cNvSpPr txBox="1"/>
          <p:nvPr/>
        </p:nvSpPr>
        <p:spPr>
          <a:xfrm>
            <a:off x="3261024" y="1549293"/>
            <a:ext cx="1949453" cy="40075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fr-FR" sz="1400" b="1" noProof="1">
                <a:solidFill>
                  <a:srgbClr val="000000"/>
                </a:solidFill>
              </a:rPr>
              <a:t>Pellentesque habitant morbi tristique senectus.</a:t>
            </a:r>
            <a:endParaRPr lang="de-DE" sz="1400" b="1" kern="1200" noProof="1">
              <a:solidFill>
                <a:srgbClr val="000000"/>
              </a:solidFill>
              <a:latin typeface="+mn-lt"/>
              <a:ea typeface="+mn-ea"/>
              <a:cs typeface="+mn-cs"/>
            </a:endParaRPr>
          </a:p>
        </p:txBody>
      </p:sp>
      <p:cxnSp>
        <p:nvCxnSpPr>
          <p:cNvPr id="5" name="Gerader Verbinder 4">
            <a:extLst>
              <a:ext uri="{FF2B5EF4-FFF2-40B4-BE49-F238E27FC236}">
                <a16:creationId xmlns:a16="http://schemas.microsoft.com/office/drawing/2014/main" id="{1A8417AC-DCCC-4487-B991-44D85972F361}"/>
              </a:ext>
            </a:extLst>
          </p:cNvPr>
          <p:cNvCxnSpPr>
            <a:cxnSpLocks/>
          </p:cNvCxnSpPr>
          <p:nvPr/>
        </p:nvCxnSpPr>
        <p:spPr>
          <a:xfrm>
            <a:off x="3261024" y="1412875"/>
            <a:ext cx="1971225"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49F2AC8F-5143-4A14-A9B5-B988A57537D8}"/>
              </a:ext>
            </a:extLst>
          </p:cNvPr>
          <p:cNvCxnSpPr>
            <a:cxnSpLocks/>
          </p:cNvCxnSpPr>
          <p:nvPr/>
        </p:nvCxnSpPr>
        <p:spPr>
          <a:xfrm>
            <a:off x="488947" y="1413933"/>
            <a:ext cx="2559054"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07D72E5A-10C7-4FF5-9727-FFE5014D9AE4}"/>
              </a:ext>
            </a:extLst>
          </p:cNvPr>
          <p:cNvCxnSpPr>
            <a:cxnSpLocks/>
          </p:cNvCxnSpPr>
          <p:nvPr/>
        </p:nvCxnSpPr>
        <p:spPr>
          <a:xfrm>
            <a:off x="3261024" y="6308725"/>
            <a:ext cx="1971225"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B5E97F95-C3DC-4DAC-AA50-A417FC26267C}"/>
              </a:ext>
            </a:extLst>
          </p:cNvPr>
          <p:cNvCxnSpPr>
            <a:cxnSpLocks/>
          </p:cNvCxnSpPr>
          <p:nvPr/>
        </p:nvCxnSpPr>
        <p:spPr>
          <a:xfrm>
            <a:off x="5445272" y="1412875"/>
            <a:ext cx="3114226"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BC3E2EC1-B33E-4488-8BFE-254030E33347}"/>
              </a:ext>
            </a:extLst>
          </p:cNvPr>
          <p:cNvCxnSpPr>
            <a:cxnSpLocks/>
          </p:cNvCxnSpPr>
          <p:nvPr/>
        </p:nvCxnSpPr>
        <p:spPr>
          <a:xfrm>
            <a:off x="8772521" y="1412875"/>
            <a:ext cx="2940054"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30750709-61FB-495A-9F96-3DDAEFCC6DC5}"/>
              </a:ext>
            </a:extLst>
          </p:cNvPr>
          <p:cNvSpPr txBox="1"/>
          <p:nvPr/>
        </p:nvSpPr>
        <p:spPr>
          <a:xfrm>
            <a:off x="3261024" y="2742199"/>
            <a:ext cx="1949453" cy="40075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fr-FR" sz="1400" b="1" noProof="1">
                <a:solidFill>
                  <a:srgbClr val="000000"/>
                </a:solidFill>
              </a:rPr>
              <a:t>Pellentesque habitant morbi tristique senectus.</a:t>
            </a:r>
          </a:p>
        </p:txBody>
      </p:sp>
      <p:sp>
        <p:nvSpPr>
          <p:cNvPr id="14" name="Textfeld 13">
            <a:extLst>
              <a:ext uri="{FF2B5EF4-FFF2-40B4-BE49-F238E27FC236}">
                <a16:creationId xmlns:a16="http://schemas.microsoft.com/office/drawing/2014/main" id="{3AE66520-54DE-4D28-A443-1ED0E97CD8C5}"/>
              </a:ext>
            </a:extLst>
          </p:cNvPr>
          <p:cNvSpPr txBox="1"/>
          <p:nvPr/>
        </p:nvSpPr>
        <p:spPr>
          <a:xfrm>
            <a:off x="3261024" y="5124439"/>
            <a:ext cx="1949453" cy="40075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fr-FR" sz="1400" b="1" noProof="1">
                <a:solidFill>
                  <a:srgbClr val="000000"/>
                </a:solidFill>
              </a:rPr>
              <a:t>Pellentesque habitant morbi tristique senectus.</a:t>
            </a:r>
          </a:p>
        </p:txBody>
      </p:sp>
      <p:sp>
        <p:nvSpPr>
          <p:cNvPr id="17" name="Textfeld 16">
            <a:extLst>
              <a:ext uri="{FF2B5EF4-FFF2-40B4-BE49-F238E27FC236}">
                <a16:creationId xmlns:a16="http://schemas.microsoft.com/office/drawing/2014/main" id="{BCD0B94A-76F1-41BD-A8A0-A3E8FB183168}"/>
              </a:ext>
            </a:extLst>
          </p:cNvPr>
          <p:cNvSpPr txBox="1"/>
          <p:nvPr/>
        </p:nvSpPr>
        <p:spPr>
          <a:xfrm>
            <a:off x="3261024" y="3931533"/>
            <a:ext cx="1949453" cy="40075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fr-FR" sz="1400" b="1" noProof="1">
                <a:solidFill>
                  <a:srgbClr val="000000"/>
                </a:solidFill>
              </a:rPr>
              <a:t>Pellentesque habitant morbi tristique senectus.</a:t>
            </a:r>
          </a:p>
        </p:txBody>
      </p:sp>
      <p:sp>
        <p:nvSpPr>
          <p:cNvPr id="24" name="Textfeld 23">
            <a:extLst>
              <a:ext uri="{FF2B5EF4-FFF2-40B4-BE49-F238E27FC236}">
                <a16:creationId xmlns:a16="http://schemas.microsoft.com/office/drawing/2014/main" id="{8A80B155-6C92-45E3-8FCE-D9BA7BAC342E}"/>
              </a:ext>
            </a:extLst>
          </p:cNvPr>
          <p:cNvSpPr txBox="1"/>
          <p:nvPr/>
        </p:nvSpPr>
        <p:spPr>
          <a:xfrm>
            <a:off x="5452831" y="1549293"/>
            <a:ext cx="3114226" cy="80150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400" noProof="1">
                <a:solidFill>
                  <a:srgbClr val="000000"/>
                </a:solidFill>
              </a:rPr>
              <a:t>Lorem ipsum dolor sit amet, consectetuer adipiscing elit. Maecenas porttitor congue massa. Fusce posuere, magna sed pulvinar ultricies.</a:t>
            </a:r>
            <a:endParaRPr lang="de-DE" sz="1400" kern="1200" noProof="1">
              <a:solidFill>
                <a:srgbClr val="000000"/>
              </a:solidFill>
              <a:latin typeface="+mn-lt"/>
              <a:ea typeface="+mn-ea"/>
              <a:cs typeface="+mn-cs"/>
            </a:endParaRPr>
          </a:p>
        </p:txBody>
      </p:sp>
      <p:sp>
        <p:nvSpPr>
          <p:cNvPr id="25" name="Textfeld 24">
            <a:extLst>
              <a:ext uri="{FF2B5EF4-FFF2-40B4-BE49-F238E27FC236}">
                <a16:creationId xmlns:a16="http://schemas.microsoft.com/office/drawing/2014/main" id="{97AB63BB-B543-4310-965E-6ADC93DBDB9C}"/>
              </a:ext>
            </a:extLst>
          </p:cNvPr>
          <p:cNvSpPr txBox="1"/>
          <p:nvPr/>
        </p:nvSpPr>
        <p:spPr>
          <a:xfrm>
            <a:off x="5452831" y="2742199"/>
            <a:ext cx="3114226" cy="80150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400" noProof="1">
                <a:solidFill>
                  <a:srgbClr val="000000"/>
                </a:solidFill>
              </a:rPr>
              <a:t>Lorem ipsum dolor sit amet, consectetuer adipiscing elit. Maecenas porttitor congue massa. Fusce posuere, magna sed pulvinar ultricies.</a:t>
            </a:r>
            <a:endParaRPr lang="de-DE" sz="1400" kern="1200" noProof="1">
              <a:solidFill>
                <a:srgbClr val="000000"/>
              </a:solidFill>
              <a:latin typeface="+mn-lt"/>
              <a:ea typeface="+mn-ea"/>
              <a:cs typeface="+mn-cs"/>
            </a:endParaRPr>
          </a:p>
        </p:txBody>
      </p:sp>
      <p:sp>
        <p:nvSpPr>
          <p:cNvPr id="26" name="Textfeld 25">
            <a:extLst>
              <a:ext uri="{FF2B5EF4-FFF2-40B4-BE49-F238E27FC236}">
                <a16:creationId xmlns:a16="http://schemas.microsoft.com/office/drawing/2014/main" id="{0CE6BBC9-7066-454D-882C-A0B5520B9484}"/>
              </a:ext>
            </a:extLst>
          </p:cNvPr>
          <p:cNvSpPr txBox="1"/>
          <p:nvPr/>
        </p:nvSpPr>
        <p:spPr>
          <a:xfrm>
            <a:off x="5452831" y="3931533"/>
            <a:ext cx="3114226" cy="80150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400" noProof="1">
                <a:solidFill>
                  <a:srgbClr val="000000"/>
                </a:solidFill>
              </a:rPr>
              <a:t>Lorem ipsum dolor sit amet, consectetuer adipiscing elit. Maecenas porttitor congue massa. Fusce posuere, magna sed pulvinar ultricies.</a:t>
            </a:r>
            <a:endParaRPr lang="de-DE" sz="1400" kern="1200" noProof="1">
              <a:solidFill>
                <a:srgbClr val="000000"/>
              </a:solidFill>
              <a:latin typeface="+mn-lt"/>
              <a:ea typeface="+mn-ea"/>
              <a:cs typeface="+mn-cs"/>
            </a:endParaRPr>
          </a:p>
        </p:txBody>
      </p:sp>
      <p:sp>
        <p:nvSpPr>
          <p:cNvPr id="27" name="Textfeld 26">
            <a:extLst>
              <a:ext uri="{FF2B5EF4-FFF2-40B4-BE49-F238E27FC236}">
                <a16:creationId xmlns:a16="http://schemas.microsoft.com/office/drawing/2014/main" id="{D38A272E-1EB5-4C4D-B8D4-76F64BDB7B9F}"/>
              </a:ext>
            </a:extLst>
          </p:cNvPr>
          <p:cNvSpPr txBox="1"/>
          <p:nvPr/>
        </p:nvSpPr>
        <p:spPr>
          <a:xfrm>
            <a:off x="5441945" y="5124439"/>
            <a:ext cx="3114226" cy="80150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400" noProof="1">
                <a:solidFill>
                  <a:srgbClr val="000000"/>
                </a:solidFill>
              </a:rPr>
              <a:t>Lorem ipsum dolor sit amet, consectetuer adipiscing elit. Maecenas porttitor congue massa. Fusce posuere, magna sed pulvinar ultricies.</a:t>
            </a:r>
            <a:endParaRPr lang="de-DE" sz="1400" kern="1200" noProof="1">
              <a:solidFill>
                <a:srgbClr val="000000"/>
              </a:solidFill>
              <a:latin typeface="+mn-lt"/>
              <a:ea typeface="+mn-ea"/>
              <a:cs typeface="+mn-cs"/>
            </a:endParaRPr>
          </a:p>
        </p:txBody>
      </p:sp>
      <p:cxnSp>
        <p:nvCxnSpPr>
          <p:cNvPr id="28" name="Gerader Verbinder 27">
            <a:extLst>
              <a:ext uri="{FF2B5EF4-FFF2-40B4-BE49-F238E27FC236}">
                <a16:creationId xmlns:a16="http://schemas.microsoft.com/office/drawing/2014/main" id="{D5D0F1C6-0F9B-4647-810C-B31273892B00}"/>
              </a:ext>
            </a:extLst>
          </p:cNvPr>
          <p:cNvCxnSpPr>
            <a:cxnSpLocks/>
          </p:cNvCxnSpPr>
          <p:nvPr/>
        </p:nvCxnSpPr>
        <p:spPr>
          <a:xfrm>
            <a:off x="5445272" y="6308725"/>
            <a:ext cx="3114226"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98E88C9-CDF1-4865-9A63-C75499F66FDA}"/>
              </a:ext>
            </a:extLst>
          </p:cNvPr>
          <p:cNvCxnSpPr>
            <a:cxnSpLocks/>
          </p:cNvCxnSpPr>
          <p:nvPr/>
        </p:nvCxnSpPr>
        <p:spPr>
          <a:xfrm>
            <a:off x="8782496" y="6317343"/>
            <a:ext cx="2940054"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7840C2F3-0502-4829-9055-0A8C6323834A}"/>
              </a:ext>
            </a:extLst>
          </p:cNvPr>
          <p:cNvSpPr txBox="1"/>
          <p:nvPr/>
        </p:nvSpPr>
        <p:spPr>
          <a:xfrm>
            <a:off x="488947" y="1549293"/>
            <a:ext cx="2559054" cy="1622752"/>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noProof="1">
                <a:solidFill>
                  <a:srgbClr val="000000"/>
                </a:solidFill>
              </a:rPr>
              <a:t>Lorem ipsum dolor sit amet, consectetuer adipiscing elit. Maecenas porttitor congue massa. </a:t>
            </a:r>
          </a:p>
          <a:p>
            <a:pPr algn="l" defTabSz="914400" eaLnBrk="1" latinLnBrk="0" hangingPunct="1">
              <a:lnSpc>
                <a:spcPct val="93000"/>
              </a:lnSpc>
              <a:spcAft>
                <a:spcPts val="600"/>
              </a:spcAft>
              <a:buClr>
                <a:schemeClr val="tx2"/>
              </a:buClr>
            </a:pPr>
            <a:r>
              <a:rPr lang="de-DE" noProof="1">
                <a:solidFill>
                  <a:srgbClr val="000000"/>
                </a:solidFill>
              </a:rPr>
              <a:t>Fusce posuere, magna sed pulvinar ultricies.</a:t>
            </a:r>
            <a:endParaRPr lang="de-DE" kern="1200" noProof="1">
              <a:solidFill>
                <a:srgbClr val="000000"/>
              </a:solidFill>
              <a:latin typeface="+mn-lt"/>
              <a:ea typeface="+mn-ea"/>
              <a:cs typeface="+mn-cs"/>
            </a:endParaRPr>
          </a:p>
        </p:txBody>
      </p:sp>
    </p:spTree>
    <p:extLst>
      <p:ext uri="{BB962C8B-B14F-4D97-AF65-F5344CB8AC3E}">
        <p14:creationId xmlns:p14="http://schemas.microsoft.com/office/powerpoint/2010/main" val="708603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9C474A8-B9F4-410F-A304-4D6B382B74A9}"/>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21" name="Freihandform: Form 20">
            <a:extLst>
              <a:ext uri="{FF2B5EF4-FFF2-40B4-BE49-F238E27FC236}">
                <a16:creationId xmlns:a16="http://schemas.microsoft.com/office/drawing/2014/main" id="{097DECF0-4D63-4685-9406-35342DF7138D}"/>
              </a:ext>
            </a:extLst>
          </p:cNvPr>
          <p:cNvSpPr/>
          <p:nvPr/>
        </p:nvSpPr>
        <p:spPr>
          <a:xfrm>
            <a:off x="489864" y="1786890"/>
            <a:ext cx="5527154" cy="1917269"/>
          </a:xfrm>
          <a:custGeom>
            <a:avLst/>
            <a:gdLst>
              <a:gd name="connsiteX0" fmla="*/ 0 w 5527154"/>
              <a:gd name="connsiteY0" fmla="*/ 0 h 1917269"/>
              <a:gd name="connsiteX1" fmla="*/ 5527154 w 5527154"/>
              <a:gd name="connsiteY1" fmla="*/ 0 h 1917269"/>
              <a:gd name="connsiteX2" fmla="*/ 5527154 w 5527154"/>
              <a:gd name="connsiteY2" fmla="*/ 923902 h 1917269"/>
              <a:gd name="connsiteX3" fmla="*/ 5501119 w 5527154"/>
              <a:gd name="connsiteY3" fmla="*/ 925220 h 1917269"/>
              <a:gd name="connsiteX4" fmla="*/ 4572956 w 5527154"/>
              <a:gd name="connsiteY4" fmla="*/ 1766519 h 1917269"/>
              <a:gd name="connsiteX5" fmla="*/ 4557798 w 5527154"/>
              <a:gd name="connsiteY5" fmla="*/ 1917269 h 1917269"/>
              <a:gd name="connsiteX6" fmla="*/ 0 w 5527154"/>
              <a:gd name="connsiteY6" fmla="*/ 1917269 h 191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7154" h="1917269">
                <a:moveTo>
                  <a:pt x="0" y="0"/>
                </a:moveTo>
                <a:lnTo>
                  <a:pt x="5527154" y="0"/>
                </a:lnTo>
                <a:lnTo>
                  <a:pt x="5527154" y="923902"/>
                </a:lnTo>
                <a:lnTo>
                  <a:pt x="5501119" y="925220"/>
                </a:lnTo>
                <a:cubicBezTo>
                  <a:pt x="5038833" y="972288"/>
                  <a:pt x="4664547" y="1317784"/>
                  <a:pt x="4572956" y="1766519"/>
                </a:cubicBezTo>
                <a:lnTo>
                  <a:pt x="4557798" y="1917269"/>
                </a:lnTo>
                <a:lnTo>
                  <a:pt x="0" y="1917269"/>
                </a:lnTo>
                <a:close/>
              </a:path>
            </a:pathLst>
          </a:custGeom>
          <a:solidFill>
            <a:schemeClr val="accent5"/>
          </a:solidFill>
          <a:ln w="9525">
            <a:solidFill>
              <a:schemeClr val="bg1">
                <a:lumMod val="65000"/>
              </a:schemeClr>
            </a:solidFill>
            <a:miter lim="800000"/>
            <a:headEnd/>
            <a:tailEnd/>
          </a:ln>
          <a:effectLst/>
        </p:spPr>
        <p:txBody>
          <a:bodyPr wrap="square" tIns="108000" bIns="72000">
            <a:noAutofit/>
          </a:bodyPr>
          <a:lstStyle/>
          <a:p>
            <a:pPr marL="285750" indent="-285750">
              <a:lnSpc>
                <a:spcPct val="95000"/>
              </a:lnSpc>
              <a:spcAft>
                <a:spcPts val="600"/>
              </a:spcAft>
              <a:buClr>
                <a:srgbClr val="7F7F7F"/>
              </a:buClr>
              <a:buFont typeface="Arial" panose="020B0604020202020204" pitchFamily="34" charset="0"/>
              <a:buChar char="•"/>
            </a:pPr>
            <a:r>
              <a:rPr lang="en-US" sz="1600" dirty="0"/>
              <a:t>Global leader in premium automotive and motorcycle manufacturing.(</a:t>
            </a:r>
            <a:r>
              <a:rPr lang="en-US" altLang="de-DE" sz="1600" noProof="1"/>
              <a:t>Core brands: BMW, MINI, and Rolls-Royce.)</a:t>
            </a:r>
          </a:p>
          <a:p>
            <a:pPr marL="285750" indent="-285750">
              <a:lnSpc>
                <a:spcPct val="95000"/>
              </a:lnSpc>
              <a:spcAft>
                <a:spcPts val="600"/>
              </a:spcAft>
              <a:buClr>
                <a:srgbClr val="7F7F7F"/>
              </a:buClr>
              <a:buFont typeface="Arial" panose="020B0604020202020204" pitchFamily="34" charset="0"/>
              <a:buChar char="•"/>
            </a:pPr>
            <a:r>
              <a:rPr lang="en-US" sz="1600" dirty="0"/>
              <a:t>Headquartered in Munich, Germany with 30+ production sites worldwide.</a:t>
            </a:r>
            <a:endParaRPr lang="en-US" sz="1600" noProof="1"/>
          </a:p>
          <a:p>
            <a:pPr marL="285750" indent="-285750">
              <a:lnSpc>
                <a:spcPct val="95000"/>
              </a:lnSpc>
              <a:spcAft>
                <a:spcPts val="600"/>
              </a:spcAft>
              <a:buClr>
                <a:srgbClr val="7F7F7F"/>
              </a:buClr>
              <a:buFont typeface="Arial" panose="020B0604020202020204" pitchFamily="34" charset="0"/>
              <a:buChar char="•"/>
            </a:pPr>
            <a:r>
              <a:rPr lang="en-US" sz="1600" dirty="0"/>
              <a:t>Focused on innovation, sustainability, and driving </a:t>
            </a:r>
          </a:p>
          <a:p>
            <a:pPr>
              <a:lnSpc>
                <a:spcPct val="95000"/>
              </a:lnSpc>
              <a:spcAft>
                <a:spcPts val="600"/>
              </a:spcAft>
              <a:buClr>
                <a:srgbClr val="7F7F7F"/>
              </a:buClr>
            </a:pPr>
            <a:r>
              <a:rPr lang="en-US" sz="1600" dirty="0"/>
              <a:t>       pleasure.</a:t>
            </a:r>
            <a:endParaRPr lang="en-GB" altLang="de-DE" sz="1600" noProof="1"/>
          </a:p>
        </p:txBody>
      </p:sp>
      <p:sp>
        <p:nvSpPr>
          <p:cNvPr id="28" name="Freihandform: Form 27">
            <a:extLst>
              <a:ext uri="{FF2B5EF4-FFF2-40B4-BE49-F238E27FC236}">
                <a16:creationId xmlns:a16="http://schemas.microsoft.com/office/drawing/2014/main" id="{322E75C8-3D35-4DE6-A01D-13AD4B472CAC}"/>
              </a:ext>
            </a:extLst>
          </p:cNvPr>
          <p:cNvSpPr/>
          <p:nvPr/>
        </p:nvSpPr>
        <p:spPr>
          <a:xfrm>
            <a:off x="489864" y="3836467"/>
            <a:ext cx="5527154" cy="1917269"/>
          </a:xfrm>
          <a:custGeom>
            <a:avLst/>
            <a:gdLst>
              <a:gd name="connsiteX0" fmla="*/ 0 w 5527154"/>
              <a:gd name="connsiteY0" fmla="*/ 0 h 1917269"/>
              <a:gd name="connsiteX1" fmla="*/ 4558436 w 5527154"/>
              <a:gd name="connsiteY1" fmla="*/ 0 h 1917269"/>
              <a:gd name="connsiteX2" fmla="*/ 4572956 w 5527154"/>
              <a:gd name="connsiteY2" fmla="*/ 144399 h 1917269"/>
              <a:gd name="connsiteX3" fmla="*/ 5501119 w 5527154"/>
              <a:gd name="connsiteY3" fmla="*/ 985698 h 1917269"/>
              <a:gd name="connsiteX4" fmla="*/ 5527154 w 5527154"/>
              <a:gd name="connsiteY4" fmla="*/ 987016 h 1917269"/>
              <a:gd name="connsiteX5" fmla="*/ 5527154 w 5527154"/>
              <a:gd name="connsiteY5" fmla="*/ 1917269 h 1917269"/>
              <a:gd name="connsiteX6" fmla="*/ 0 w 5527154"/>
              <a:gd name="connsiteY6" fmla="*/ 1917269 h 191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7154" h="1917269">
                <a:moveTo>
                  <a:pt x="0" y="0"/>
                </a:moveTo>
                <a:lnTo>
                  <a:pt x="4558436" y="0"/>
                </a:lnTo>
                <a:lnTo>
                  <a:pt x="4572956" y="144399"/>
                </a:lnTo>
                <a:cubicBezTo>
                  <a:pt x="4664547" y="593134"/>
                  <a:pt x="5038833" y="938631"/>
                  <a:pt x="5501119" y="985698"/>
                </a:cubicBezTo>
                <a:lnTo>
                  <a:pt x="5527154" y="987016"/>
                </a:lnTo>
                <a:lnTo>
                  <a:pt x="5527154" y="1917269"/>
                </a:lnTo>
                <a:lnTo>
                  <a:pt x="0" y="1917269"/>
                </a:lnTo>
                <a:close/>
              </a:path>
            </a:pathLst>
          </a:custGeom>
          <a:solidFill>
            <a:schemeClr val="accent5"/>
          </a:solidFill>
          <a:ln w="9525">
            <a:solidFill>
              <a:schemeClr val="bg1">
                <a:lumMod val="65000"/>
              </a:schemeClr>
            </a:solidFill>
            <a:miter lim="800000"/>
            <a:headEnd/>
            <a:tailEnd/>
          </a:ln>
          <a:effectLst/>
        </p:spPr>
        <p:txBody>
          <a:bodyPr wrap="square" tIns="108000" bIns="72000">
            <a:noAutofit/>
          </a:bodyPr>
          <a:lstStyle/>
          <a:p>
            <a:pPr>
              <a:lnSpc>
                <a:spcPct val="50000"/>
              </a:lnSpc>
              <a:spcAft>
                <a:spcPts val="600"/>
              </a:spcAft>
              <a:buClr>
                <a:srgbClr val="7F7F7F"/>
              </a:buClr>
            </a:pPr>
            <a:endParaRPr lang="en-US" altLang="de-DE" sz="1600" noProof="1"/>
          </a:p>
          <a:p>
            <a:pPr marL="285750" indent="-285750">
              <a:lnSpc>
                <a:spcPct val="50000"/>
              </a:lnSpc>
              <a:spcAft>
                <a:spcPts val="600"/>
              </a:spcAft>
              <a:buClr>
                <a:srgbClr val="7F7F7F"/>
              </a:buClr>
              <a:buFont typeface="Arial" panose="020B0604020202020204" pitchFamily="34" charset="0"/>
              <a:buChar char="•"/>
            </a:pPr>
            <a:endParaRPr lang="en-US" altLang="de-DE" sz="1600" noProof="1"/>
          </a:p>
          <a:p>
            <a:pPr marL="285750" indent="-285750">
              <a:lnSpc>
                <a:spcPct val="50000"/>
              </a:lnSpc>
              <a:spcAft>
                <a:spcPts val="600"/>
              </a:spcAft>
              <a:buClr>
                <a:srgbClr val="7F7F7F"/>
              </a:buClr>
              <a:buFont typeface="Arial" panose="020B0604020202020204" pitchFamily="34" charset="0"/>
              <a:buChar char="•"/>
            </a:pPr>
            <a:r>
              <a:rPr lang="en-US" altLang="de-DE" sz="1600" noProof="1"/>
              <a:t>Quality begins with understanding and fulfilling customer </a:t>
            </a:r>
          </a:p>
          <a:p>
            <a:pPr>
              <a:lnSpc>
                <a:spcPct val="50000"/>
              </a:lnSpc>
              <a:spcAft>
                <a:spcPts val="600"/>
              </a:spcAft>
              <a:buClr>
                <a:srgbClr val="7F7F7F"/>
              </a:buClr>
            </a:pPr>
            <a:r>
              <a:rPr lang="en-US" altLang="de-DE" sz="1600" noProof="1"/>
              <a:t>       needs consistently.</a:t>
            </a:r>
          </a:p>
          <a:p>
            <a:pPr marL="285750" indent="-285750">
              <a:lnSpc>
                <a:spcPct val="95000"/>
              </a:lnSpc>
              <a:spcAft>
                <a:spcPts val="600"/>
              </a:spcAft>
              <a:buClr>
                <a:srgbClr val="7F7F7F"/>
              </a:buClr>
              <a:buFont typeface="Arial" panose="020B0604020202020204" pitchFamily="34" charset="0"/>
              <a:buChar char="•"/>
            </a:pPr>
            <a:r>
              <a:rPr lang="en-US" altLang="de-DE" sz="1600" noProof="1"/>
              <a:t>Continuous improvement is essential—every process should evolve through feedback and refinement.</a:t>
            </a:r>
          </a:p>
          <a:p>
            <a:pPr marL="285750" indent="-285750">
              <a:lnSpc>
                <a:spcPct val="95000"/>
              </a:lnSpc>
              <a:spcAft>
                <a:spcPts val="600"/>
              </a:spcAft>
              <a:buClr>
                <a:srgbClr val="7F7F7F"/>
              </a:buClr>
              <a:buFont typeface="Arial" panose="020B0604020202020204" pitchFamily="34" charset="0"/>
              <a:buChar char="•"/>
            </a:pPr>
            <a:r>
              <a:rPr lang="en-US" altLang="de-DE" sz="1600" noProof="1"/>
              <a:t>A process-oriented approach ensures consistency, reduces errors, and builds scalable systems.</a:t>
            </a:r>
            <a:endParaRPr lang="en-GB" altLang="de-DE" sz="1600" noProof="1"/>
          </a:p>
        </p:txBody>
      </p:sp>
      <p:sp>
        <p:nvSpPr>
          <p:cNvPr id="25" name="Freihandform: Form 24">
            <a:extLst>
              <a:ext uri="{FF2B5EF4-FFF2-40B4-BE49-F238E27FC236}">
                <a16:creationId xmlns:a16="http://schemas.microsoft.com/office/drawing/2014/main" id="{3945D6AB-D2F9-42D5-9370-6CB5EE037222}"/>
              </a:ext>
            </a:extLst>
          </p:cNvPr>
          <p:cNvSpPr/>
          <p:nvPr/>
        </p:nvSpPr>
        <p:spPr>
          <a:xfrm>
            <a:off x="6178687" y="1786890"/>
            <a:ext cx="5530714" cy="1917269"/>
          </a:xfrm>
          <a:custGeom>
            <a:avLst/>
            <a:gdLst>
              <a:gd name="connsiteX0" fmla="*/ 0 w 5530714"/>
              <a:gd name="connsiteY0" fmla="*/ 0 h 1917269"/>
              <a:gd name="connsiteX1" fmla="*/ 5530714 w 5530714"/>
              <a:gd name="connsiteY1" fmla="*/ 0 h 1917269"/>
              <a:gd name="connsiteX2" fmla="*/ 5530714 w 5530714"/>
              <a:gd name="connsiteY2" fmla="*/ 1917269 h 1917269"/>
              <a:gd name="connsiteX3" fmla="*/ 971926 w 5530714"/>
              <a:gd name="connsiteY3" fmla="*/ 1917269 h 1917269"/>
              <a:gd name="connsiteX4" fmla="*/ 956767 w 5530714"/>
              <a:gd name="connsiteY4" fmla="*/ 1766519 h 1917269"/>
              <a:gd name="connsiteX5" fmla="*/ 28605 w 5530714"/>
              <a:gd name="connsiteY5" fmla="*/ 925220 h 1917269"/>
              <a:gd name="connsiteX6" fmla="*/ 0 w 5530714"/>
              <a:gd name="connsiteY6" fmla="*/ 923772 h 191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30714" h="1917269">
                <a:moveTo>
                  <a:pt x="0" y="0"/>
                </a:moveTo>
                <a:lnTo>
                  <a:pt x="5530714" y="0"/>
                </a:lnTo>
                <a:lnTo>
                  <a:pt x="5530714" y="1917269"/>
                </a:lnTo>
                <a:lnTo>
                  <a:pt x="971926" y="1917269"/>
                </a:lnTo>
                <a:lnTo>
                  <a:pt x="956767" y="1766519"/>
                </a:lnTo>
                <a:cubicBezTo>
                  <a:pt x="865176" y="1317784"/>
                  <a:pt x="490890" y="972288"/>
                  <a:pt x="28605" y="925220"/>
                </a:cubicBezTo>
                <a:lnTo>
                  <a:pt x="0" y="923772"/>
                </a:lnTo>
                <a:close/>
              </a:path>
            </a:pathLst>
          </a:custGeom>
          <a:solidFill>
            <a:schemeClr val="accent5"/>
          </a:solidFill>
          <a:ln w="9525">
            <a:solidFill>
              <a:schemeClr val="bg1">
                <a:lumMod val="65000"/>
              </a:schemeClr>
            </a:solidFill>
            <a:miter lim="800000"/>
            <a:headEnd/>
            <a:tailEnd/>
          </a:ln>
          <a:effectLst/>
        </p:spPr>
        <p:txBody>
          <a:bodyPr wrap="square" tIns="108000" bIns="72000">
            <a:noAutofit/>
          </a:bodyPr>
          <a:lstStyle/>
          <a:p>
            <a:pPr algn="r">
              <a:lnSpc>
                <a:spcPct val="95000"/>
              </a:lnSpc>
              <a:spcAft>
                <a:spcPts val="600"/>
              </a:spcAft>
              <a:buClr>
                <a:srgbClr val="7F7F7F"/>
              </a:buClr>
            </a:pPr>
            <a:endParaRPr lang="en-GB" altLang="de-DE" sz="1600" noProof="1"/>
          </a:p>
        </p:txBody>
      </p:sp>
      <p:sp>
        <p:nvSpPr>
          <p:cNvPr id="27" name="Freihandform: Form 26">
            <a:extLst>
              <a:ext uri="{FF2B5EF4-FFF2-40B4-BE49-F238E27FC236}">
                <a16:creationId xmlns:a16="http://schemas.microsoft.com/office/drawing/2014/main" id="{5A2B3513-4313-44F3-9C63-05D6AC0465E1}"/>
              </a:ext>
            </a:extLst>
          </p:cNvPr>
          <p:cNvSpPr/>
          <p:nvPr/>
        </p:nvSpPr>
        <p:spPr>
          <a:xfrm>
            <a:off x="6230365" y="3858331"/>
            <a:ext cx="5479036" cy="1892740"/>
          </a:xfrm>
          <a:custGeom>
            <a:avLst/>
            <a:gdLst>
              <a:gd name="connsiteX0" fmla="*/ 971287 w 5530714"/>
              <a:gd name="connsiteY0" fmla="*/ 0 h 1917269"/>
              <a:gd name="connsiteX1" fmla="*/ 5530714 w 5530714"/>
              <a:gd name="connsiteY1" fmla="*/ 0 h 1917269"/>
              <a:gd name="connsiteX2" fmla="*/ 5530714 w 5530714"/>
              <a:gd name="connsiteY2" fmla="*/ 1917269 h 1917269"/>
              <a:gd name="connsiteX3" fmla="*/ 0 w 5530714"/>
              <a:gd name="connsiteY3" fmla="*/ 1917269 h 1917269"/>
              <a:gd name="connsiteX4" fmla="*/ 0 w 5530714"/>
              <a:gd name="connsiteY4" fmla="*/ 987146 h 1917269"/>
              <a:gd name="connsiteX5" fmla="*/ 28605 w 5530714"/>
              <a:gd name="connsiteY5" fmla="*/ 985698 h 1917269"/>
              <a:gd name="connsiteX6" fmla="*/ 956767 w 5530714"/>
              <a:gd name="connsiteY6" fmla="*/ 144399 h 191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30714" h="1917269">
                <a:moveTo>
                  <a:pt x="971287" y="0"/>
                </a:moveTo>
                <a:lnTo>
                  <a:pt x="5530714" y="0"/>
                </a:lnTo>
                <a:lnTo>
                  <a:pt x="5530714" y="1917269"/>
                </a:lnTo>
                <a:lnTo>
                  <a:pt x="0" y="1917269"/>
                </a:lnTo>
                <a:lnTo>
                  <a:pt x="0" y="987146"/>
                </a:lnTo>
                <a:lnTo>
                  <a:pt x="28605" y="985698"/>
                </a:lnTo>
                <a:cubicBezTo>
                  <a:pt x="490890" y="938631"/>
                  <a:pt x="865176" y="593134"/>
                  <a:pt x="956767" y="144399"/>
                </a:cubicBezTo>
                <a:close/>
              </a:path>
            </a:pathLst>
          </a:custGeom>
          <a:solidFill>
            <a:schemeClr val="accent5"/>
          </a:solidFill>
          <a:ln w="9525">
            <a:solidFill>
              <a:schemeClr val="bg1">
                <a:lumMod val="65000"/>
              </a:schemeClr>
            </a:solidFill>
            <a:miter lim="800000"/>
            <a:headEnd/>
            <a:tailEnd/>
          </a:ln>
          <a:effectLst/>
        </p:spPr>
        <p:txBody>
          <a:bodyPr wrap="square" tIns="108000" bIns="72000">
            <a:noAutofit/>
          </a:bodyPr>
          <a:lstStyle/>
          <a:p>
            <a:pPr>
              <a:lnSpc>
                <a:spcPct val="93000"/>
              </a:lnSpc>
              <a:spcAft>
                <a:spcPts val="600"/>
              </a:spcAft>
            </a:pPr>
            <a:endParaRPr lang="en-GB" sz="1600" dirty="0"/>
          </a:p>
        </p:txBody>
      </p:sp>
      <p:sp>
        <p:nvSpPr>
          <p:cNvPr id="40963" name="_h1"/>
          <p:cNvSpPr>
            <a:spLocks noGrp="1" noChangeArrowheads="1"/>
          </p:cNvSpPr>
          <p:nvPr>
            <p:ph type="title"/>
          </p:nvPr>
        </p:nvSpPr>
        <p:spPr>
          <a:xfrm>
            <a:off x="488947" y="347184"/>
            <a:ext cx="11224684" cy="400110"/>
          </a:xfrm>
        </p:spPr>
        <p:txBody>
          <a:bodyPr/>
          <a:lstStyle/>
          <a:p>
            <a:r>
              <a:rPr lang="en-GB" altLang="de-DE" noProof="1"/>
              <a:t>Organization Profile</a:t>
            </a:r>
            <a:endParaRPr lang="en-GB" noProof="1"/>
          </a:p>
        </p:txBody>
      </p:sp>
      <p:sp>
        <p:nvSpPr>
          <p:cNvPr id="63" name="Line 7"/>
          <p:cNvSpPr>
            <a:spLocks noChangeShapeType="1"/>
          </p:cNvSpPr>
          <p:nvPr/>
        </p:nvSpPr>
        <p:spPr bwMode="gray">
          <a:xfrm flipH="1">
            <a:off x="4304645" y="3501013"/>
            <a:ext cx="1097219" cy="188098"/>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0" name="Line 7"/>
          <p:cNvSpPr>
            <a:spLocks noChangeShapeType="1"/>
          </p:cNvSpPr>
          <p:nvPr/>
        </p:nvSpPr>
        <p:spPr bwMode="gray">
          <a:xfrm flipH="1">
            <a:off x="4307100" y="3501503"/>
            <a:ext cx="1095743" cy="18784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6" name="Oval 15">
            <a:extLst>
              <a:ext uri="{FF2B5EF4-FFF2-40B4-BE49-F238E27FC236}">
                <a16:creationId xmlns:a16="http://schemas.microsoft.com/office/drawing/2014/main" id="{67A90D39-7184-4BD2-9AC4-21367E565F7C}"/>
              </a:ext>
            </a:extLst>
          </p:cNvPr>
          <p:cNvSpPr>
            <a:spLocks noChangeArrowheads="1"/>
          </p:cNvSpPr>
          <p:nvPr/>
        </p:nvSpPr>
        <p:spPr bwMode="gray">
          <a:xfrm>
            <a:off x="5187624" y="2853303"/>
            <a:ext cx="1823025" cy="1827668"/>
          </a:xfrm>
          <a:prstGeom prst="ellipse">
            <a:avLst/>
          </a:prstGeom>
          <a:gradFill flip="none" rotWithShape="1">
            <a:gsLst>
              <a:gs pos="0">
                <a:schemeClr val="accent2"/>
              </a:gs>
              <a:gs pos="71000">
                <a:schemeClr val="tx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GB" altLang="de-DE" sz="2000" noProof="1">
              <a:solidFill>
                <a:schemeClr val="bg1"/>
              </a:solidFill>
            </a:endParaRPr>
          </a:p>
        </p:txBody>
      </p:sp>
      <p:pic>
        <p:nvPicPr>
          <p:cNvPr id="6" name="Graphic 5">
            <a:extLst>
              <a:ext uri="{FF2B5EF4-FFF2-40B4-BE49-F238E27FC236}">
                <a16:creationId xmlns:a16="http://schemas.microsoft.com/office/drawing/2014/main" id="{7218CFC5-BC20-0B0C-2041-2C7D79A029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34791" y="3440992"/>
            <a:ext cx="1250863" cy="652290"/>
          </a:xfrm>
          <a:prstGeom prst="rect">
            <a:avLst/>
          </a:prstGeom>
        </p:spPr>
      </p:pic>
      <p:grpSp>
        <p:nvGrpSpPr>
          <p:cNvPr id="13" name="Group 12">
            <a:extLst>
              <a:ext uri="{FF2B5EF4-FFF2-40B4-BE49-F238E27FC236}">
                <a16:creationId xmlns:a16="http://schemas.microsoft.com/office/drawing/2014/main" id="{CB1022F5-EAF1-8E32-C27A-B22A53125794}"/>
              </a:ext>
            </a:extLst>
          </p:cNvPr>
          <p:cNvGrpSpPr/>
          <p:nvPr/>
        </p:nvGrpSpPr>
        <p:grpSpPr>
          <a:xfrm>
            <a:off x="8485162" y="214431"/>
            <a:ext cx="3370288" cy="532863"/>
            <a:chOff x="8351812" y="347184"/>
            <a:chExt cx="3370288" cy="532863"/>
          </a:xfrm>
        </p:grpSpPr>
        <p:pic>
          <p:nvPicPr>
            <p:cNvPr id="9" name="Graphic 8">
              <a:extLst>
                <a:ext uri="{FF2B5EF4-FFF2-40B4-BE49-F238E27FC236}">
                  <a16:creationId xmlns:a16="http://schemas.microsoft.com/office/drawing/2014/main" id="{CDB1AD19-5F3C-72B6-A1EA-62D4D5E9C9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448799" y="453580"/>
              <a:ext cx="2273301" cy="426087"/>
            </a:xfrm>
            <a:prstGeom prst="rect">
              <a:avLst/>
            </a:prstGeom>
          </p:spPr>
        </p:pic>
        <p:pic>
          <p:nvPicPr>
            <p:cNvPr id="11" name="Graphic 10">
              <a:extLst>
                <a:ext uri="{FF2B5EF4-FFF2-40B4-BE49-F238E27FC236}">
                  <a16:creationId xmlns:a16="http://schemas.microsoft.com/office/drawing/2014/main" id="{69361DEB-7CFD-85D9-B039-6AA9252F0EB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51812" y="347184"/>
              <a:ext cx="1021843" cy="532863"/>
            </a:xfrm>
            <a:prstGeom prst="rect">
              <a:avLst/>
            </a:prstGeom>
          </p:spPr>
        </p:pic>
      </p:grpSp>
      <p:sp>
        <p:nvSpPr>
          <p:cNvPr id="29" name="Freihandform: Form 24">
            <a:extLst>
              <a:ext uri="{FF2B5EF4-FFF2-40B4-BE49-F238E27FC236}">
                <a16:creationId xmlns:a16="http://schemas.microsoft.com/office/drawing/2014/main" id="{4DAC6235-9684-9DF8-41EC-2A7223751025}"/>
              </a:ext>
            </a:extLst>
          </p:cNvPr>
          <p:cNvSpPr/>
          <p:nvPr/>
        </p:nvSpPr>
        <p:spPr>
          <a:xfrm>
            <a:off x="6178687" y="1786890"/>
            <a:ext cx="5530714" cy="1917269"/>
          </a:xfrm>
          <a:custGeom>
            <a:avLst/>
            <a:gdLst>
              <a:gd name="connsiteX0" fmla="*/ 0 w 5530714"/>
              <a:gd name="connsiteY0" fmla="*/ 0 h 1917269"/>
              <a:gd name="connsiteX1" fmla="*/ 5530714 w 5530714"/>
              <a:gd name="connsiteY1" fmla="*/ 0 h 1917269"/>
              <a:gd name="connsiteX2" fmla="*/ 5530714 w 5530714"/>
              <a:gd name="connsiteY2" fmla="*/ 1917269 h 1917269"/>
              <a:gd name="connsiteX3" fmla="*/ 971926 w 5530714"/>
              <a:gd name="connsiteY3" fmla="*/ 1917269 h 1917269"/>
              <a:gd name="connsiteX4" fmla="*/ 956767 w 5530714"/>
              <a:gd name="connsiteY4" fmla="*/ 1766519 h 1917269"/>
              <a:gd name="connsiteX5" fmla="*/ 28605 w 5530714"/>
              <a:gd name="connsiteY5" fmla="*/ 925220 h 1917269"/>
              <a:gd name="connsiteX6" fmla="*/ 0 w 5530714"/>
              <a:gd name="connsiteY6" fmla="*/ 923772 h 191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30714" h="1917269">
                <a:moveTo>
                  <a:pt x="0" y="0"/>
                </a:moveTo>
                <a:lnTo>
                  <a:pt x="5530714" y="0"/>
                </a:lnTo>
                <a:lnTo>
                  <a:pt x="5530714" y="1917269"/>
                </a:lnTo>
                <a:lnTo>
                  <a:pt x="971926" y="1917269"/>
                </a:lnTo>
                <a:lnTo>
                  <a:pt x="956767" y="1766519"/>
                </a:lnTo>
                <a:cubicBezTo>
                  <a:pt x="865176" y="1317784"/>
                  <a:pt x="490890" y="972288"/>
                  <a:pt x="28605" y="925220"/>
                </a:cubicBezTo>
                <a:lnTo>
                  <a:pt x="0" y="923772"/>
                </a:lnTo>
                <a:close/>
              </a:path>
            </a:pathLst>
          </a:custGeom>
          <a:solidFill>
            <a:schemeClr val="accent5"/>
          </a:solidFill>
          <a:ln w="9525">
            <a:solidFill>
              <a:schemeClr val="bg1">
                <a:lumMod val="65000"/>
              </a:schemeClr>
            </a:solidFill>
            <a:miter lim="800000"/>
            <a:headEnd/>
            <a:tailEnd/>
          </a:ln>
          <a:effectLst/>
        </p:spPr>
        <p:txBody>
          <a:bodyPr wrap="square" tIns="108000" bIns="72000">
            <a:noAutofit/>
          </a:bodyPr>
          <a:lstStyle/>
          <a:p>
            <a:pPr algn="r">
              <a:lnSpc>
                <a:spcPct val="95000"/>
              </a:lnSpc>
              <a:spcAft>
                <a:spcPts val="600"/>
              </a:spcAft>
              <a:buClr>
                <a:srgbClr val="7F7F7F"/>
              </a:buClr>
            </a:pPr>
            <a:endParaRPr lang="en-GB" altLang="de-DE" sz="1600" noProof="1"/>
          </a:p>
        </p:txBody>
      </p:sp>
      <p:sp>
        <p:nvSpPr>
          <p:cNvPr id="34" name="TextBox 33">
            <a:extLst>
              <a:ext uri="{FF2B5EF4-FFF2-40B4-BE49-F238E27FC236}">
                <a16:creationId xmlns:a16="http://schemas.microsoft.com/office/drawing/2014/main" id="{AA4BA5BA-41FD-65C6-3F48-CC30152948D9}"/>
              </a:ext>
            </a:extLst>
          </p:cNvPr>
          <p:cNvSpPr txBox="1"/>
          <p:nvPr/>
        </p:nvSpPr>
        <p:spPr>
          <a:xfrm>
            <a:off x="6897542" y="1919196"/>
            <a:ext cx="4804594" cy="1600438"/>
          </a:xfrm>
          <a:prstGeom prst="rect">
            <a:avLst/>
          </a:prstGeom>
          <a:noFill/>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a:ln>
                  <a:noFill/>
                </a:ln>
                <a:solidFill>
                  <a:schemeClr val="tx1"/>
                </a:solidFill>
                <a:effectLst/>
                <a:latin typeface="+mj-lt"/>
              </a:rPr>
              <a:t>BMW’s manufacturing base for India, producing CKD and CBU models</a:t>
            </a:r>
            <a:r>
              <a:rPr lang="en-US" altLang="en-US" sz="1400" dirty="0">
                <a:latin typeface="+mj-lt"/>
              </a:rPr>
              <a: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a:ln>
                  <a:noFill/>
                </a:ln>
                <a:solidFill>
                  <a:schemeClr val="tx1"/>
                </a:solidFill>
                <a:effectLst/>
                <a:latin typeface="+mj-lt"/>
              </a:rPr>
              <a:t>Localized production of 3 Series, 5 Series, X1, X3, X5, etc.</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a:ln>
                  <a:noFill/>
                </a:ln>
                <a:solidFill>
                  <a:schemeClr val="tx1"/>
                </a:solidFill>
                <a:effectLst/>
                <a:latin typeface="+mj-lt"/>
              </a:rPr>
              <a:t>Integrates Lean Manufacturing, Industry 4.0, and Green Factory principl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a:ln>
                  <a:noFill/>
                </a:ln>
                <a:solidFill>
                  <a:schemeClr val="tx1"/>
                </a:solidFill>
                <a:effectLst/>
                <a:latin typeface="+mj-lt"/>
              </a:rPr>
              <a:t>Known for precision, scalability, and market-specific adaptability.</a:t>
            </a:r>
          </a:p>
        </p:txBody>
      </p:sp>
      <p:graphicFrame>
        <p:nvGraphicFramePr>
          <p:cNvPr id="35" name="Tabelle 21">
            <a:extLst>
              <a:ext uri="{FF2B5EF4-FFF2-40B4-BE49-F238E27FC236}">
                <a16:creationId xmlns:a16="http://schemas.microsoft.com/office/drawing/2014/main" id="{2ED7DE2A-F6C9-6A39-175B-5A01E600805A}"/>
              </a:ext>
            </a:extLst>
          </p:cNvPr>
          <p:cNvGraphicFramePr>
            <a:graphicFrameLocks noGrp="1"/>
          </p:cNvGraphicFramePr>
          <p:nvPr>
            <p:extLst>
              <p:ext uri="{D42A27DB-BD31-4B8C-83A1-F6EECF244321}">
                <p14:modId xmlns:p14="http://schemas.microsoft.com/office/powerpoint/2010/main" val="2220671995"/>
              </p:ext>
            </p:extLst>
          </p:nvPr>
        </p:nvGraphicFramePr>
        <p:xfrm>
          <a:off x="489864" y="3840944"/>
          <a:ext cx="4553951" cy="370840"/>
        </p:xfrm>
        <a:graphic>
          <a:graphicData uri="http://schemas.openxmlformats.org/drawingml/2006/table">
            <a:tbl>
              <a:tblPr firstRow="1" bandRow="1">
                <a:tableStyleId>{C083E6E3-FA7D-4D7B-A595-EF9225AFEA82}</a:tableStyleId>
              </a:tblPr>
              <a:tblGrid>
                <a:gridCol w="4553951">
                  <a:extLst>
                    <a:ext uri="{9D8B030D-6E8A-4147-A177-3AD203B41FA5}">
                      <a16:colId xmlns:a16="http://schemas.microsoft.com/office/drawing/2014/main" val="3971555131"/>
                    </a:ext>
                  </a:extLst>
                </a:gridCol>
              </a:tblGrid>
              <a:tr h="370840">
                <a:tc>
                  <a:txBody>
                    <a:bodyPr/>
                    <a:lstStyle/>
                    <a:p>
                      <a:pPr algn="l"/>
                      <a:r>
                        <a:rPr lang="en-US" b="1" dirty="0"/>
                        <a:t>Total Vehicle Quality Management :</a:t>
                      </a:r>
                      <a:endParaRPr lang="en-GB" sz="1800" b="1" dirty="0">
                        <a:solidFill>
                          <a:srgbClr val="000000"/>
                        </a:solidFill>
                        <a:latin typeface="+mn-lt"/>
                        <a:sym typeface="BMW Group Condensed" panose="020B0606020202020204" pitchFamily="34" charset="0"/>
                      </a:endParaRP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365612769"/>
                  </a:ext>
                </a:extLst>
              </a:tr>
            </a:tbl>
          </a:graphicData>
        </a:graphic>
      </p:graphicFrame>
      <p:graphicFrame>
        <p:nvGraphicFramePr>
          <p:cNvPr id="43" name="Tabelle 22">
            <a:extLst>
              <a:ext uri="{FF2B5EF4-FFF2-40B4-BE49-F238E27FC236}">
                <a16:creationId xmlns:a16="http://schemas.microsoft.com/office/drawing/2014/main" id="{33EFF63A-4974-6EC5-E875-272593CDE712}"/>
              </a:ext>
            </a:extLst>
          </p:cNvPr>
          <p:cNvGraphicFramePr>
            <a:graphicFrameLocks noGrp="1"/>
          </p:cNvGraphicFramePr>
          <p:nvPr>
            <p:extLst>
              <p:ext uri="{D42A27DB-BD31-4B8C-83A1-F6EECF244321}">
                <p14:modId xmlns:p14="http://schemas.microsoft.com/office/powerpoint/2010/main" val="649913458"/>
              </p:ext>
            </p:extLst>
          </p:nvPr>
        </p:nvGraphicFramePr>
        <p:xfrm>
          <a:off x="7223996" y="3860424"/>
          <a:ext cx="4485405" cy="370840"/>
        </p:xfrm>
        <a:graphic>
          <a:graphicData uri="http://schemas.openxmlformats.org/drawingml/2006/table">
            <a:tbl>
              <a:tblPr firstRow="1" bandRow="1">
                <a:tableStyleId>{C083E6E3-FA7D-4D7B-A595-EF9225AFEA82}</a:tableStyleId>
              </a:tblPr>
              <a:tblGrid>
                <a:gridCol w="4485405">
                  <a:extLst>
                    <a:ext uri="{9D8B030D-6E8A-4147-A177-3AD203B41FA5}">
                      <a16:colId xmlns:a16="http://schemas.microsoft.com/office/drawing/2014/main" val="3971555131"/>
                    </a:ext>
                  </a:extLst>
                </a:gridCol>
              </a:tblGrid>
              <a:tr h="370840">
                <a:tc>
                  <a:txBody>
                    <a:bodyPr/>
                    <a:lstStyle/>
                    <a:p>
                      <a:pPr algn="l"/>
                      <a:r>
                        <a:rPr lang="en-GB" sz="1800" b="1" dirty="0">
                          <a:solidFill>
                            <a:srgbClr val="000000"/>
                          </a:solidFill>
                          <a:latin typeface="+mn-lt"/>
                          <a:sym typeface="BMW Group Condensed" panose="020B0606020202020204" pitchFamily="34" charset="0"/>
                        </a:rPr>
                        <a:t>Functional Analysis :</a:t>
                      </a: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365612769"/>
                  </a:ext>
                </a:extLst>
              </a:tr>
            </a:tbl>
          </a:graphicData>
        </a:graphic>
      </p:graphicFrame>
      <p:sp>
        <p:nvSpPr>
          <p:cNvPr id="45" name="TextBox 44">
            <a:extLst>
              <a:ext uri="{FF2B5EF4-FFF2-40B4-BE49-F238E27FC236}">
                <a16:creationId xmlns:a16="http://schemas.microsoft.com/office/drawing/2014/main" id="{A7801625-7A53-5EE9-6B07-4CEB2D7CC191}"/>
              </a:ext>
            </a:extLst>
          </p:cNvPr>
          <p:cNvSpPr txBox="1"/>
          <p:nvPr/>
        </p:nvSpPr>
        <p:spPr>
          <a:xfrm>
            <a:off x="7154458" y="4252417"/>
            <a:ext cx="4417346" cy="1804725"/>
          </a:xfrm>
          <a:prstGeom prst="rect">
            <a:avLst/>
          </a:prstGeom>
        </p:spPr>
        <p:txBody>
          <a:bodyPr vert="horz" wrap="square" lIns="0" tIns="0" rIns="0" bIns="0" rtlCol="0">
            <a:spAutoFit/>
          </a:bodyPr>
          <a:lstStyle/>
          <a:p>
            <a:pPr marL="285750" indent="-285750">
              <a:lnSpc>
                <a:spcPct val="93000"/>
              </a:lnSpc>
              <a:spcAft>
                <a:spcPts val="600"/>
              </a:spcAft>
              <a:buFont typeface="Arial" panose="020B0604020202020204" pitchFamily="34" charset="0"/>
              <a:buChar char="•"/>
            </a:pPr>
            <a:r>
              <a:rPr lang="en-US" sz="1600" dirty="0"/>
              <a:t>Responsible for validating vehicle functions across systems—ensures that mechanical, electrical, and software components work seamlessly together.</a:t>
            </a:r>
          </a:p>
          <a:p>
            <a:pPr marL="285750" indent="-285750">
              <a:lnSpc>
                <a:spcPct val="93000"/>
              </a:lnSpc>
              <a:spcAft>
                <a:spcPts val="600"/>
              </a:spcAft>
              <a:buFont typeface="Arial" panose="020B0604020202020204" pitchFamily="34" charset="0"/>
              <a:buChar char="•"/>
            </a:pPr>
            <a:r>
              <a:rPr lang="en-US" sz="1600" dirty="0"/>
              <a:t>Supports cross-functional testing and integration, especially during pre-series and series development phases.</a:t>
            </a:r>
          </a:p>
          <a:p>
            <a:pPr marL="190800" indent="-190800" algn="l" defTabSz="914400" rtl="0" eaLnBrk="1" latinLnBrk="0" hangingPunct="1">
              <a:lnSpc>
                <a:spcPct val="100000"/>
              </a:lnSpc>
              <a:spcBef>
                <a:spcPts val="0"/>
              </a:spcBef>
              <a:spcAft>
                <a:spcPts val="600"/>
              </a:spcAft>
              <a:buClr>
                <a:schemeClr val="tx2"/>
              </a:buClr>
              <a:buFont typeface="Wingdings" panose="05000000000000000000" pitchFamily="2" charset="2"/>
              <a:buChar char="§"/>
            </a:pPr>
            <a:endParaRPr lang="en-GB" sz="1800" kern="1200" dirty="0" err="1">
              <a:solidFill>
                <a:schemeClr val="tx1"/>
              </a:solidFill>
              <a:latin typeface="+mn-lt"/>
              <a:ea typeface="+mn-ea"/>
              <a:cs typeface="+mn-cs"/>
            </a:endParaRPr>
          </a:p>
        </p:txBody>
      </p:sp>
      <p:graphicFrame>
        <p:nvGraphicFramePr>
          <p:cNvPr id="23" name="Tabelle 22"/>
          <p:cNvGraphicFramePr>
            <a:graphicFrameLocks noGrp="1"/>
          </p:cNvGraphicFramePr>
          <p:nvPr>
            <p:extLst>
              <p:ext uri="{D42A27DB-BD31-4B8C-83A1-F6EECF244321}">
                <p14:modId xmlns:p14="http://schemas.microsoft.com/office/powerpoint/2010/main" val="4079163286"/>
              </p:ext>
            </p:extLst>
          </p:nvPr>
        </p:nvGraphicFramePr>
        <p:xfrm>
          <a:off x="6174984" y="1442487"/>
          <a:ext cx="5549900" cy="370840"/>
        </p:xfrm>
        <a:graphic>
          <a:graphicData uri="http://schemas.openxmlformats.org/drawingml/2006/table">
            <a:tbl>
              <a:tblPr firstRow="1" bandRow="1">
                <a:tableStyleId>{C083E6E3-FA7D-4D7B-A595-EF9225AFEA82}</a:tableStyleId>
              </a:tblPr>
              <a:tblGrid>
                <a:gridCol w="5549900">
                  <a:extLst>
                    <a:ext uri="{9D8B030D-6E8A-4147-A177-3AD203B41FA5}">
                      <a16:colId xmlns:a16="http://schemas.microsoft.com/office/drawing/2014/main" val="3971555131"/>
                    </a:ext>
                  </a:extLst>
                </a:gridCol>
              </a:tblGrid>
              <a:tr h="370840">
                <a:tc>
                  <a:txBody>
                    <a:bodyPr/>
                    <a:lstStyle/>
                    <a:p>
                      <a:pPr algn="l"/>
                      <a:r>
                        <a:rPr lang="en-US" b="1" dirty="0"/>
                        <a:t>BMW Plant Chennai :</a:t>
                      </a:r>
                      <a:endParaRPr lang="en-GB" sz="1800" b="1" dirty="0">
                        <a:solidFill>
                          <a:srgbClr val="000000"/>
                        </a:solidFill>
                        <a:latin typeface="+mn-lt"/>
                        <a:sym typeface="BMW Group Condensed" panose="020B0606020202020204" pitchFamily="34" charset="0"/>
                      </a:endParaRP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365612769"/>
                  </a:ext>
                </a:extLst>
              </a:tr>
            </a:tbl>
          </a:graphicData>
        </a:graphic>
      </p:graphicFrame>
      <p:graphicFrame>
        <p:nvGraphicFramePr>
          <p:cNvPr id="3" name="Tabelle 22">
            <a:extLst>
              <a:ext uri="{FF2B5EF4-FFF2-40B4-BE49-F238E27FC236}">
                <a16:creationId xmlns:a16="http://schemas.microsoft.com/office/drawing/2014/main" id="{208BD292-3322-9C43-C77E-ACF2633BCC30}"/>
              </a:ext>
            </a:extLst>
          </p:cNvPr>
          <p:cNvGraphicFramePr>
            <a:graphicFrameLocks noGrp="1"/>
          </p:cNvGraphicFramePr>
          <p:nvPr>
            <p:extLst>
              <p:ext uri="{D42A27DB-BD31-4B8C-83A1-F6EECF244321}">
                <p14:modId xmlns:p14="http://schemas.microsoft.com/office/powerpoint/2010/main" val="3100449560"/>
              </p:ext>
            </p:extLst>
          </p:nvPr>
        </p:nvGraphicFramePr>
        <p:xfrm>
          <a:off x="489864" y="1440610"/>
          <a:ext cx="5549900" cy="346279"/>
        </p:xfrm>
        <a:graphic>
          <a:graphicData uri="http://schemas.openxmlformats.org/drawingml/2006/table">
            <a:tbl>
              <a:tblPr firstRow="1" bandRow="1">
                <a:tableStyleId>{C083E6E3-FA7D-4D7B-A595-EF9225AFEA82}</a:tableStyleId>
              </a:tblPr>
              <a:tblGrid>
                <a:gridCol w="5549900">
                  <a:extLst>
                    <a:ext uri="{9D8B030D-6E8A-4147-A177-3AD203B41FA5}">
                      <a16:colId xmlns:a16="http://schemas.microsoft.com/office/drawing/2014/main" val="3971555131"/>
                    </a:ext>
                  </a:extLst>
                </a:gridCol>
              </a:tblGrid>
              <a:tr h="346279">
                <a:tc>
                  <a:txBody>
                    <a:bodyPr/>
                    <a:lstStyle/>
                    <a:p>
                      <a:pPr algn="l"/>
                      <a:r>
                        <a:rPr lang="en-GB" sz="1800" b="1" dirty="0">
                          <a:solidFill>
                            <a:srgbClr val="000000"/>
                          </a:solidFill>
                          <a:latin typeface="+mn-lt"/>
                          <a:sym typeface="BMW Group Condensed" panose="020B0606020202020204" pitchFamily="34" charset="0"/>
                        </a:rPr>
                        <a:t>BMW Group Overview :</a:t>
                      </a: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365612769"/>
                  </a:ext>
                </a:extLst>
              </a:tr>
            </a:tbl>
          </a:graphicData>
        </a:graphic>
      </p:graphicFrame>
    </p:spTree>
    <p:custDataLst>
      <p:tags r:id="rId1"/>
    </p:custDataLst>
    <p:extLst>
      <p:ext uri="{BB962C8B-B14F-4D97-AF65-F5344CB8AC3E}">
        <p14:creationId xmlns:p14="http://schemas.microsoft.com/office/powerpoint/2010/main" val="3207917881"/>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6E1E330-2226-44D1-8439-55C2A032125F}"/>
              </a:ext>
            </a:extLst>
          </p:cNvPr>
          <p:cNvGraphicFramePr>
            <a:graphicFrameLocks noChangeAspect="1"/>
          </p:cNvGraphicFramePr>
          <p:nvPr>
            <p:custDataLst>
              <p:tags r:id="rId1"/>
            </p:custDataLst>
            <p:extLst>
              <p:ext uri="{D42A27DB-BD31-4B8C-83A1-F6EECF244321}">
                <p14:modId xmlns:p14="http://schemas.microsoft.com/office/powerpoint/2010/main" val="3136057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7" name="Objekt 6" hidden="1">
                        <a:extLst>
                          <a:ext uri="{FF2B5EF4-FFF2-40B4-BE49-F238E27FC236}">
                            <a16:creationId xmlns:a16="http://schemas.microsoft.com/office/drawing/2014/main" id="{C6E1E330-2226-44D1-8439-55C2A03212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Bildplatzhalter 4">
            <a:extLst>
              <a:ext uri="{FF2B5EF4-FFF2-40B4-BE49-F238E27FC236}">
                <a16:creationId xmlns:a16="http://schemas.microsoft.com/office/drawing/2014/main" id="{8D4A8F48-D42A-4844-9770-FE828011A993}"/>
              </a:ext>
            </a:extLst>
          </p:cNvPr>
          <p:cNvPicPr>
            <a:picLocks noGrp="1" noChangeAspect="1"/>
          </p:cNvPicPr>
          <p:nvPr>
            <p:ph type="pic" sz="quarter" idx="10"/>
          </p:nvPr>
        </p:nvPicPr>
        <p:blipFill rotWithShape="1">
          <a:blip r:embed="rId5" cstate="print">
            <a:extLst>
              <a:ext uri="{28A0092B-C50C-407E-A947-70E740481C1C}">
                <a14:useLocalDpi xmlns:a14="http://schemas.microsoft.com/office/drawing/2010/main" val="0"/>
              </a:ext>
            </a:extLst>
          </a:blip>
          <a:srcRect/>
          <a:stretch/>
        </p:blipFill>
        <p:spPr>
          <a:xfrm>
            <a:off x="0" y="0"/>
            <a:ext cx="12192000" cy="6570482"/>
          </a:xfrm>
        </p:spPr>
      </p:pic>
      <p:sp>
        <p:nvSpPr>
          <p:cNvPr id="3" name="Titel 2">
            <a:extLst>
              <a:ext uri="{FF2B5EF4-FFF2-40B4-BE49-F238E27FC236}">
                <a16:creationId xmlns:a16="http://schemas.microsoft.com/office/drawing/2014/main" id="{6EB406DC-DFA8-4A5B-AE9E-8DC9A5A97678}"/>
              </a:ext>
            </a:extLst>
          </p:cNvPr>
          <p:cNvSpPr>
            <a:spLocks noGrp="1"/>
          </p:cNvSpPr>
          <p:nvPr>
            <p:ph type="title"/>
          </p:nvPr>
        </p:nvSpPr>
        <p:spPr>
          <a:xfrm>
            <a:off x="479425" y="4551236"/>
            <a:ext cx="11723153" cy="1449216"/>
          </a:xfrm>
          <a:noFill/>
        </p:spPr>
        <p:txBody>
          <a:bodyPr vert="horz"/>
          <a:lstStyle/>
          <a:p>
            <a:r>
              <a:rPr lang="en-GB" dirty="0"/>
              <a:t>Maecenas </a:t>
            </a:r>
            <a:r>
              <a:rPr lang="en-GB" dirty="0" err="1"/>
              <a:t>porttitor</a:t>
            </a:r>
            <a:r>
              <a:rPr lang="en-GB" dirty="0"/>
              <a:t> </a:t>
            </a:r>
            <a:br>
              <a:rPr lang="en-GB" dirty="0"/>
            </a:br>
            <a:r>
              <a:rPr lang="en-GB" dirty="0" err="1"/>
              <a:t>congue</a:t>
            </a:r>
            <a:r>
              <a:rPr lang="en-GB" dirty="0"/>
              <a:t> </a:t>
            </a:r>
            <a:r>
              <a:rPr lang="en-GB" dirty="0" err="1"/>
              <a:t>massa</a:t>
            </a:r>
            <a:r>
              <a:rPr lang="en-GB" dirty="0"/>
              <a:t>.</a:t>
            </a:r>
          </a:p>
        </p:txBody>
      </p:sp>
    </p:spTree>
    <p:extLst>
      <p:ext uri="{BB962C8B-B14F-4D97-AF65-F5344CB8AC3E}">
        <p14:creationId xmlns:p14="http://schemas.microsoft.com/office/powerpoint/2010/main" val="14366834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B64C0514-07BD-4B2D-BD11-4ADBB102155F}"/>
              </a:ext>
            </a:extLst>
          </p:cNvPr>
          <p:cNvGraphicFramePr>
            <a:graphicFrameLocks noChangeAspect="1"/>
          </p:cNvGraphicFramePr>
          <p:nvPr>
            <p:custDataLst>
              <p:tags r:id="rId1"/>
            </p:custDataLst>
            <p:extLst>
              <p:ext uri="{D42A27DB-BD31-4B8C-83A1-F6EECF244321}">
                <p14:modId xmlns:p14="http://schemas.microsoft.com/office/powerpoint/2010/main" val="466152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kt 12" hidden="1">
                        <a:extLst>
                          <a:ext uri="{FF2B5EF4-FFF2-40B4-BE49-F238E27FC236}">
                            <a16:creationId xmlns:a16="http://schemas.microsoft.com/office/drawing/2014/main" id="{B64C0514-07BD-4B2D-BD11-4ADBB1021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 name="Grafik 40">
            <a:extLst>
              <a:ext uri="{FF2B5EF4-FFF2-40B4-BE49-F238E27FC236}">
                <a16:creationId xmlns:a16="http://schemas.microsoft.com/office/drawing/2014/main" id="{44A9B149-8A04-4B34-8A1D-1F7BA83EAB1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961486" y="1540904"/>
            <a:ext cx="1803035" cy="1803034"/>
          </a:xfrm>
          <a:prstGeom prst="rect">
            <a:avLst/>
          </a:prstGeom>
        </p:spPr>
      </p:pic>
      <p:pic>
        <p:nvPicPr>
          <p:cNvPr id="47" name="Grafik 46">
            <a:extLst>
              <a:ext uri="{FF2B5EF4-FFF2-40B4-BE49-F238E27FC236}">
                <a16:creationId xmlns:a16="http://schemas.microsoft.com/office/drawing/2014/main" id="{F219E27E-90E0-4A98-90AB-30B9B3ED12F9}"/>
              </a:ext>
            </a:extLst>
          </p:cNvPr>
          <p:cNvPicPr>
            <a:picLocks/>
          </p:cNvPicPr>
          <p:nvPr/>
        </p:nvPicPr>
        <p:blipFill rotWithShape="1">
          <a:blip r:embed="rId7" cstate="print">
            <a:extLst>
              <a:ext uri="{28A0092B-C50C-407E-A947-70E740481C1C}">
                <a14:useLocalDpi xmlns:a14="http://schemas.microsoft.com/office/drawing/2010/main" val="0"/>
              </a:ext>
            </a:extLst>
          </a:blip>
          <a:srcRect/>
          <a:stretch/>
        </p:blipFill>
        <p:spPr>
          <a:xfrm>
            <a:off x="5944521" y="1540904"/>
            <a:ext cx="1803035" cy="1803035"/>
          </a:xfrm>
          <a:prstGeom prst="rect">
            <a:avLst/>
          </a:prstGeom>
        </p:spPr>
      </p:pic>
      <p:pic>
        <p:nvPicPr>
          <p:cNvPr id="49" name="Grafik 48">
            <a:extLst>
              <a:ext uri="{FF2B5EF4-FFF2-40B4-BE49-F238E27FC236}">
                <a16:creationId xmlns:a16="http://schemas.microsoft.com/office/drawing/2014/main" id="{4BE9708D-26B4-439C-A29E-4EB4D22DA77A}"/>
              </a:ext>
            </a:extLst>
          </p:cNvPr>
          <p:cNvPicPr>
            <a:picLocks/>
          </p:cNvPicPr>
          <p:nvPr/>
        </p:nvPicPr>
        <p:blipFill rotWithShape="1">
          <a:blip r:embed="rId8" cstate="print">
            <a:extLst>
              <a:ext uri="{28A0092B-C50C-407E-A947-70E740481C1C}">
                <a14:useLocalDpi xmlns:a14="http://schemas.microsoft.com/office/drawing/2010/main" val="0"/>
              </a:ext>
            </a:extLst>
          </a:blip>
          <a:srcRect/>
          <a:stretch/>
        </p:blipFill>
        <p:spPr>
          <a:xfrm>
            <a:off x="9910590" y="1540904"/>
            <a:ext cx="1803035" cy="1803035"/>
          </a:xfrm>
          <a:prstGeom prst="rect">
            <a:avLst/>
          </a:prstGeom>
        </p:spPr>
      </p:pic>
      <p:pic>
        <p:nvPicPr>
          <p:cNvPr id="51" name="Grafik 50">
            <a:extLst>
              <a:ext uri="{FF2B5EF4-FFF2-40B4-BE49-F238E27FC236}">
                <a16:creationId xmlns:a16="http://schemas.microsoft.com/office/drawing/2014/main" id="{4DDA0AAB-EF4D-412A-BC15-CE51A1797507}"/>
              </a:ext>
            </a:extLst>
          </p:cNvPr>
          <p:cNvPicPr>
            <a:picLocks/>
          </p:cNvPicPr>
          <p:nvPr/>
        </p:nvPicPr>
        <p:blipFill rotWithShape="1">
          <a:blip r:embed="rId9" cstate="print">
            <a:extLst>
              <a:ext uri="{28A0092B-C50C-407E-A947-70E740481C1C}">
                <a14:useLocalDpi xmlns:a14="http://schemas.microsoft.com/office/drawing/2010/main" val="0"/>
              </a:ext>
            </a:extLst>
          </a:blip>
          <a:srcRect/>
          <a:stretch/>
        </p:blipFill>
        <p:spPr>
          <a:xfrm>
            <a:off x="7927556" y="1540904"/>
            <a:ext cx="1803035" cy="1803035"/>
          </a:xfrm>
          <a:prstGeom prst="rect">
            <a:avLst/>
          </a:prstGeom>
        </p:spPr>
      </p:pic>
      <p:sp>
        <p:nvSpPr>
          <p:cNvPr id="2" name="Titel 1">
            <a:extLst>
              <a:ext uri="{FF2B5EF4-FFF2-40B4-BE49-F238E27FC236}">
                <a16:creationId xmlns:a16="http://schemas.microsoft.com/office/drawing/2014/main" id="{4B158228-AE1F-4B35-86B9-BA8CC0E11698}"/>
              </a:ext>
            </a:extLst>
          </p:cNvPr>
          <p:cNvSpPr>
            <a:spLocks noGrp="1"/>
          </p:cNvSpPr>
          <p:nvPr>
            <p:ph type="title"/>
          </p:nvPr>
        </p:nvSpPr>
        <p:spPr/>
        <p:txBody>
          <a:bodyPr/>
          <a:lstStyle/>
          <a:p>
            <a:endParaRPr lang="de-DE" noProof="1"/>
          </a:p>
        </p:txBody>
      </p:sp>
      <p:cxnSp>
        <p:nvCxnSpPr>
          <p:cNvPr id="4" name="Gerader Verbinder 3">
            <a:extLst>
              <a:ext uri="{FF2B5EF4-FFF2-40B4-BE49-F238E27FC236}">
                <a16:creationId xmlns:a16="http://schemas.microsoft.com/office/drawing/2014/main" id="{28F98334-D423-4A2F-84A2-9CD458EFCC54}"/>
              </a:ext>
            </a:extLst>
          </p:cNvPr>
          <p:cNvCxnSpPr>
            <a:cxnSpLocks/>
          </p:cNvCxnSpPr>
          <p:nvPr/>
        </p:nvCxnSpPr>
        <p:spPr>
          <a:xfrm>
            <a:off x="467175" y="1412875"/>
            <a:ext cx="2559054"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4B71297E-C59D-4736-BF0E-33274E9CC733}"/>
              </a:ext>
            </a:extLst>
          </p:cNvPr>
          <p:cNvSpPr txBox="1"/>
          <p:nvPr/>
        </p:nvSpPr>
        <p:spPr>
          <a:xfrm>
            <a:off x="467175" y="1548869"/>
            <a:ext cx="2559054" cy="3349250"/>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noProof="1">
                <a:solidFill>
                  <a:srgbClr val="000000"/>
                </a:solidFill>
              </a:rPr>
              <a:t>Lorem ipsum dolor sit amet, consectetuer adipiscing elit. Maecenas porttitor congue massa. Fusce posuere, magna sed pulvinar ultricies. Lorem ipsum dolor sit amet, consectetuer adipiscing elit. Maecenas porttitor congue massa. Fusce posuere, magna sed pulvinar ultricies, purus lectus malesuada libero, sit amet commodo magna eros quis urna.</a:t>
            </a:r>
          </a:p>
        </p:txBody>
      </p:sp>
      <p:cxnSp>
        <p:nvCxnSpPr>
          <p:cNvPr id="6" name="Gerader Verbinder 5">
            <a:extLst>
              <a:ext uri="{FF2B5EF4-FFF2-40B4-BE49-F238E27FC236}">
                <a16:creationId xmlns:a16="http://schemas.microsoft.com/office/drawing/2014/main" id="{D056152C-4C4D-4314-BC3E-021275ABE189}"/>
              </a:ext>
            </a:extLst>
          </p:cNvPr>
          <p:cNvCxnSpPr>
            <a:cxnSpLocks/>
          </p:cNvCxnSpPr>
          <p:nvPr/>
        </p:nvCxnSpPr>
        <p:spPr>
          <a:xfrm>
            <a:off x="3961488" y="1412875"/>
            <a:ext cx="1803035"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DC7AADD1-3678-4396-8D5A-685BD6DC681D}"/>
              </a:ext>
            </a:extLst>
          </p:cNvPr>
          <p:cNvCxnSpPr>
            <a:cxnSpLocks/>
          </p:cNvCxnSpPr>
          <p:nvPr/>
        </p:nvCxnSpPr>
        <p:spPr>
          <a:xfrm>
            <a:off x="5944523" y="1412875"/>
            <a:ext cx="1803035"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049B3D1-F5D3-4684-BCC2-55C81B189EAE}"/>
              </a:ext>
            </a:extLst>
          </p:cNvPr>
          <p:cNvCxnSpPr>
            <a:cxnSpLocks/>
          </p:cNvCxnSpPr>
          <p:nvPr/>
        </p:nvCxnSpPr>
        <p:spPr>
          <a:xfrm>
            <a:off x="7927558" y="1410607"/>
            <a:ext cx="1803035"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F8374F1A-9FBE-483B-8318-12EACCE1B7AA}"/>
              </a:ext>
            </a:extLst>
          </p:cNvPr>
          <p:cNvCxnSpPr>
            <a:cxnSpLocks/>
          </p:cNvCxnSpPr>
          <p:nvPr/>
        </p:nvCxnSpPr>
        <p:spPr>
          <a:xfrm>
            <a:off x="9910593" y="1412875"/>
            <a:ext cx="1803035" cy="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56AE5704-7BC2-4CDF-89F4-6013791728A7}"/>
              </a:ext>
            </a:extLst>
          </p:cNvPr>
          <p:cNvSpPr txBox="1"/>
          <p:nvPr/>
        </p:nvSpPr>
        <p:spPr>
          <a:xfrm>
            <a:off x="3961486" y="3529379"/>
            <a:ext cx="1803035" cy="1479572"/>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fr-FR" sz="1400" b="1" noProof="1">
                <a:solidFill>
                  <a:srgbClr val="000000"/>
                </a:solidFill>
              </a:rPr>
              <a:t>Pellentesque habitant morbi tristique senectus.</a:t>
            </a:r>
          </a:p>
          <a:p>
            <a:pPr algn="l" defTabSz="914400" eaLnBrk="1" latinLnBrk="0" hangingPunct="1">
              <a:lnSpc>
                <a:spcPct val="93000"/>
              </a:lnSpc>
              <a:spcAft>
                <a:spcPts val="600"/>
              </a:spcAft>
              <a:buClr>
                <a:schemeClr val="tx2"/>
              </a:buClr>
            </a:pPr>
            <a:r>
              <a:rPr lang="de-DE" sz="1400" noProof="1">
                <a:solidFill>
                  <a:srgbClr val="000000"/>
                </a:solidFill>
              </a:rPr>
              <a:t>Fusce posuere, magna sed pulvinar ultricies, purus lectus malesuada libero, sit amet commodo magna eros quis urna.</a:t>
            </a:r>
            <a:endParaRPr lang="de-DE" sz="1400" kern="1200" noProof="1">
              <a:solidFill>
                <a:srgbClr val="000000"/>
              </a:solidFill>
              <a:latin typeface="+mn-lt"/>
              <a:ea typeface="+mn-ea"/>
              <a:cs typeface="+mn-cs"/>
            </a:endParaRPr>
          </a:p>
        </p:txBody>
      </p:sp>
      <p:sp>
        <p:nvSpPr>
          <p:cNvPr id="21" name="Textfeld 20">
            <a:extLst>
              <a:ext uri="{FF2B5EF4-FFF2-40B4-BE49-F238E27FC236}">
                <a16:creationId xmlns:a16="http://schemas.microsoft.com/office/drawing/2014/main" id="{7E7CC4D5-7D6A-4CF0-AE0F-531A1FC9F007}"/>
              </a:ext>
            </a:extLst>
          </p:cNvPr>
          <p:cNvSpPr txBox="1"/>
          <p:nvPr/>
        </p:nvSpPr>
        <p:spPr>
          <a:xfrm>
            <a:off x="5944521" y="3529379"/>
            <a:ext cx="1803035" cy="1479572"/>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fr-FR" sz="1400" b="1" noProof="1">
                <a:solidFill>
                  <a:srgbClr val="000000"/>
                </a:solidFill>
              </a:rPr>
              <a:t>Pellentesque habitant morbi tristique senectus.</a:t>
            </a:r>
          </a:p>
          <a:p>
            <a:pPr algn="l" defTabSz="914400" eaLnBrk="1" latinLnBrk="0" hangingPunct="1">
              <a:lnSpc>
                <a:spcPct val="93000"/>
              </a:lnSpc>
              <a:spcAft>
                <a:spcPts val="600"/>
              </a:spcAft>
              <a:buClr>
                <a:schemeClr val="tx2"/>
              </a:buClr>
            </a:pPr>
            <a:r>
              <a:rPr lang="de-DE" sz="1400" noProof="1">
                <a:solidFill>
                  <a:srgbClr val="000000"/>
                </a:solidFill>
              </a:rPr>
              <a:t>Fusce posuere, magna sed pulvinar ultricies, purus lectus malesuada libero, sit amet commodo magna eros quis urna.</a:t>
            </a:r>
            <a:endParaRPr lang="de-DE" sz="1400" kern="1200" noProof="1">
              <a:solidFill>
                <a:srgbClr val="000000"/>
              </a:solidFill>
              <a:latin typeface="+mn-lt"/>
              <a:ea typeface="+mn-ea"/>
              <a:cs typeface="+mn-cs"/>
            </a:endParaRPr>
          </a:p>
        </p:txBody>
      </p:sp>
      <p:sp>
        <p:nvSpPr>
          <p:cNvPr id="22" name="Textfeld 21">
            <a:extLst>
              <a:ext uri="{FF2B5EF4-FFF2-40B4-BE49-F238E27FC236}">
                <a16:creationId xmlns:a16="http://schemas.microsoft.com/office/drawing/2014/main" id="{1C7EE8E6-3E39-49DF-A0B8-8CEFCBC0974C}"/>
              </a:ext>
            </a:extLst>
          </p:cNvPr>
          <p:cNvSpPr txBox="1"/>
          <p:nvPr/>
        </p:nvSpPr>
        <p:spPr>
          <a:xfrm>
            <a:off x="7927556" y="3490165"/>
            <a:ext cx="1803035" cy="1479572"/>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fr-FR" sz="1400" b="1" noProof="1">
                <a:solidFill>
                  <a:srgbClr val="000000"/>
                </a:solidFill>
              </a:rPr>
              <a:t>Pellentesque habitant morbi tristique senectus.</a:t>
            </a:r>
          </a:p>
          <a:p>
            <a:pPr algn="l" defTabSz="914400" eaLnBrk="1" latinLnBrk="0" hangingPunct="1">
              <a:lnSpc>
                <a:spcPct val="93000"/>
              </a:lnSpc>
              <a:spcAft>
                <a:spcPts val="600"/>
              </a:spcAft>
              <a:buClr>
                <a:schemeClr val="tx2"/>
              </a:buClr>
            </a:pPr>
            <a:r>
              <a:rPr lang="de-DE" sz="1400" noProof="1">
                <a:solidFill>
                  <a:srgbClr val="000000"/>
                </a:solidFill>
              </a:rPr>
              <a:t>Fusce posuere, magna sed pulvinar ultricies, purus lectus malesuada libero, sit amet commodo magna eros quis urna.</a:t>
            </a:r>
            <a:endParaRPr lang="de-DE" sz="1400" kern="1200" noProof="1">
              <a:solidFill>
                <a:srgbClr val="000000"/>
              </a:solidFill>
              <a:latin typeface="+mn-lt"/>
              <a:ea typeface="+mn-ea"/>
              <a:cs typeface="+mn-cs"/>
            </a:endParaRPr>
          </a:p>
        </p:txBody>
      </p:sp>
      <p:sp>
        <p:nvSpPr>
          <p:cNvPr id="23" name="Textfeld 22">
            <a:extLst>
              <a:ext uri="{FF2B5EF4-FFF2-40B4-BE49-F238E27FC236}">
                <a16:creationId xmlns:a16="http://schemas.microsoft.com/office/drawing/2014/main" id="{873A8ECA-DA28-41CA-AA8F-8FF7477B68A7}"/>
              </a:ext>
            </a:extLst>
          </p:cNvPr>
          <p:cNvSpPr txBox="1"/>
          <p:nvPr/>
        </p:nvSpPr>
        <p:spPr>
          <a:xfrm>
            <a:off x="9910590" y="3487895"/>
            <a:ext cx="1803035" cy="1479572"/>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fr-FR" sz="1400" b="1" noProof="1">
                <a:solidFill>
                  <a:srgbClr val="000000"/>
                </a:solidFill>
              </a:rPr>
              <a:t>Pellentesque habitant morbi tristique senectus.</a:t>
            </a:r>
          </a:p>
          <a:p>
            <a:pPr algn="l" defTabSz="914400" eaLnBrk="1" latinLnBrk="0" hangingPunct="1">
              <a:lnSpc>
                <a:spcPct val="93000"/>
              </a:lnSpc>
              <a:spcAft>
                <a:spcPts val="600"/>
              </a:spcAft>
              <a:buClr>
                <a:schemeClr val="tx2"/>
              </a:buClr>
            </a:pPr>
            <a:r>
              <a:rPr lang="de-DE" sz="1400" noProof="1">
                <a:solidFill>
                  <a:srgbClr val="000000"/>
                </a:solidFill>
              </a:rPr>
              <a:t>Fusce posuere, magna sed pulvinar ultricies, purus lectus malesuada libero, sit amet commodo magna eros quis urna.</a:t>
            </a:r>
            <a:endParaRPr lang="de-DE" sz="1400" kern="1200" noProof="1">
              <a:solidFill>
                <a:srgbClr val="000000"/>
              </a:solidFill>
              <a:latin typeface="+mn-lt"/>
              <a:ea typeface="+mn-ea"/>
              <a:cs typeface="+mn-cs"/>
            </a:endParaRPr>
          </a:p>
        </p:txBody>
      </p:sp>
      <p:cxnSp>
        <p:nvCxnSpPr>
          <p:cNvPr id="24" name="Gerader Verbinder 23">
            <a:extLst>
              <a:ext uri="{FF2B5EF4-FFF2-40B4-BE49-F238E27FC236}">
                <a16:creationId xmlns:a16="http://schemas.microsoft.com/office/drawing/2014/main" id="{EA50878E-6EFF-464B-9F81-CEAE180A9881}"/>
              </a:ext>
            </a:extLst>
          </p:cNvPr>
          <p:cNvCxnSpPr>
            <a:cxnSpLocks/>
          </p:cNvCxnSpPr>
          <p:nvPr/>
        </p:nvCxnSpPr>
        <p:spPr>
          <a:xfrm>
            <a:off x="3961488" y="6303736"/>
            <a:ext cx="3786068" cy="4989"/>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35F98C4-C1AF-41A2-83BE-20F921F4EAC3}"/>
              </a:ext>
            </a:extLst>
          </p:cNvPr>
          <p:cNvCxnSpPr>
            <a:cxnSpLocks/>
          </p:cNvCxnSpPr>
          <p:nvPr/>
        </p:nvCxnSpPr>
        <p:spPr>
          <a:xfrm>
            <a:off x="5944521" y="5653849"/>
            <a:ext cx="3786068" cy="4989"/>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9C9EAA5D-4340-445F-813E-DD9DE569FA43}"/>
              </a:ext>
            </a:extLst>
          </p:cNvPr>
          <p:cNvCxnSpPr/>
          <p:nvPr/>
        </p:nvCxnSpPr>
        <p:spPr>
          <a:xfrm>
            <a:off x="3961488" y="5965372"/>
            <a:ext cx="0" cy="34925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52A0C9F7-4C2A-4459-922F-58A02931FB9D}"/>
              </a:ext>
            </a:extLst>
          </p:cNvPr>
          <p:cNvCxnSpPr/>
          <p:nvPr/>
        </p:nvCxnSpPr>
        <p:spPr>
          <a:xfrm>
            <a:off x="7735758" y="5965372"/>
            <a:ext cx="0" cy="34925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4118A9AC-3724-4FC1-B040-F79178132A36}"/>
              </a:ext>
            </a:extLst>
          </p:cNvPr>
          <p:cNvCxnSpPr/>
          <p:nvPr/>
        </p:nvCxnSpPr>
        <p:spPr>
          <a:xfrm>
            <a:off x="5955407" y="5315485"/>
            <a:ext cx="0" cy="34925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28E86E7-73D0-4203-A86B-364948C2BB91}"/>
              </a:ext>
            </a:extLst>
          </p:cNvPr>
          <p:cNvCxnSpPr/>
          <p:nvPr/>
        </p:nvCxnSpPr>
        <p:spPr>
          <a:xfrm>
            <a:off x="9720625" y="5304599"/>
            <a:ext cx="0" cy="349250"/>
          </a:xfrm>
          <a:prstGeom prst="line">
            <a:avLst/>
          </a:prstGeom>
          <a:ln w="19050">
            <a:solidFill>
              <a:srgbClr val="8D1E77"/>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extfeld 37">
            <a:extLst>
              <a:ext uri="{FF2B5EF4-FFF2-40B4-BE49-F238E27FC236}">
                <a16:creationId xmlns:a16="http://schemas.microsoft.com/office/drawing/2014/main" id="{D99E6B1A-C09F-4486-8263-ADA930F089B5}"/>
              </a:ext>
            </a:extLst>
          </p:cNvPr>
          <p:cNvSpPr txBox="1"/>
          <p:nvPr/>
        </p:nvSpPr>
        <p:spPr>
          <a:xfrm>
            <a:off x="3961485" y="5984711"/>
            <a:ext cx="3786068" cy="292709"/>
          </a:xfrm>
          <a:prstGeom prst="rect">
            <a:avLst/>
          </a:prstGeom>
          <a:noFill/>
        </p:spPr>
        <p:txBody>
          <a:bodyPr wrap="square">
            <a:spAutoFit/>
          </a:bodyPr>
          <a:lstStyle/>
          <a:p>
            <a:pPr algn="ctr" defTabSz="914400" eaLnBrk="1" latinLnBrk="0" hangingPunct="1">
              <a:lnSpc>
                <a:spcPct val="93000"/>
              </a:lnSpc>
              <a:spcAft>
                <a:spcPts val="600"/>
              </a:spcAft>
              <a:buClr>
                <a:schemeClr val="tx2"/>
              </a:buClr>
            </a:pPr>
            <a:r>
              <a:rPr lang="de-DE" sz="1400" b="1" noProof="1">
                <a:solidFill>
                  <a:srgbClr val="000000"/>
                </a:solidFill>
              </a:rPr>
              <a:t>Maecenas porttitor congue massa.</a:t>
            </a:r>
          </a:p>
        </p:txBody>
      </p:sp>
      <p:sp>
        <p:nvSpPr>
          <p:cNvPr id="39" name="Textfeld 38">
            <a:extLst>
              <a:ext uri="{FF2B5EF4-FFF2-40B4-BE49-F238E27FC236}">
                <a16:creationId xmlns:a16="http://schemas.microsoft.com/office/drawing/2014/main" id="{137A14E9-1150-4031-8CF4-BB3FFF20B639}"/>
              </a:ext>
            </a:extLst>
          </p:cNvPr>
          <p:cNvSpPr txBox="1"/>
          <p:nvPr/>
        </p:nvSpPr>
        <p:spPr>
          <a:xfrm>
            <a:off x="5944522" y="5353700"/>
            <a:ext cx="3786068" cy="292709"/>
          </a:xfrm>
          <a:prstGeom prst="rect">
            <a:avLst/>
          </a:prstGeom>
          <a:noFill/>
        </p:spPr>
        <p:txBody>
          <a:bodyPr wrap="square">
            <a:spAutoFit/>
          </a:bodyPr>
          <a:lstStyle/>
          <a:p>
            <a:pPr algn="ctr" defTabSz="914400" eaLnBrk="1" latinLnBrk="0" hangingPunct="1">
              <a:lnSpc>
                <a:spcPct val="93000"/>
              </a:lnSpc>
              <a:spcAft>
                <a:spcPts val="600"/>
              </a:spcAft>
              <a:buClr>
                <a:schemeClr val="tx2"/>
              </a:buClr>
            </a:pPr>
            <a:r>
              <a:rPr lang="de-DE" sz="1400" b="1" noProof="1">
                <a:solidFill>
                  <a:srgbClr val="000000"/>
                </a:solidFill>
              </a:rPr>
              <a:t>Maecenas porttitor congue massa.</a:t>
            </a:r>
          </a:p>
        </p:txBody>
      </p:sp>
    </p:spTree>
    <p:extLst>
      <p:ext uri="{BB962C8B-B14F-4D97-AF65-F5344CB8AC3E}">
        <p14:creationId xmlns:p14="http://schemas.microsoft.com/office/powerpoint/2010/main" val="7143780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D1C5EAB4-56F3-49F3-AA07-CB29C682B9B4}"/>
              </a:ext>
            </a:extLst>
          </p:cNvPr>
          <p:cNvGraphicFramePr>
            <a:graphicFrameLocks noChangeAspect="1"/>
          </p:cNvGraphicFramePr>
          <p:nvPr>
            <p:custDataLst>
              <p:tags r:id="rId1"/>
            </p:custDataLst>
            <p:extLst>
              <p:ext uri="{D42A27DB-BD31-4B8C-83A1-F6EECF244321}">
                <p14:modId xmlns:p14="http://schemas.microsoft.com/office/powerpoint/2010/main" val="141156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kt 12" hidden="1">
                        <a:extLst>
                          <a:ext uri="{FF2B5EF4-FFF2-40B4-BE49-F238E27FC236}">
                            <a16:creationId xmlns:a16="http://schemas.microsoft.com/office/drawing/2014/main" id="{D1C5EAB4-56F3-49F3-AA07-CB29C682B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Inhaltsplatzhalter 4">
            <a:extLst>
              <a:ext uri="{FF2B5EF4-FFF2-40B4-BE49-F238E27FC236}">
                <a16:creationId xmlns:a16="http://schemas.microsoft.com/office/drawing/2014/main" id="{0FFC61C3-2291-4C05-955A-36EB27A2CA47}"/>
              </a:ext>
            </a:extLst>
          </p:cNvPr>
          <p:cNvPicPr>
            <a:picLocks noGrp="1"/>
          </p:cNvPicPr>
          <p:nvPr>
            <p:ph sz="quarter" idx="4294967295"/>
          </p:nvPr>
        </p:nvPicPr>
        <p:blipFill rotWithShape="1">
          <a:blip r:embed="rId6" cstate="print">
            <a:extLst>
              <a:ext uri="{28A0092B-C50C-407E-A947-70E740481C1C}">
                <a14:useLocalDpi xmlns:a14="http://schemas.microsoft.com/office/drawing/2010/main" val="0"/>
              </a:ext>
            </a:extLst>
          </a:blip>
          <a:srcRect/>
          <a:stretch/>
        </p:blipFill>
        <p:spPr>
          <a:xfrm>
            <a:off x="0" y="0"/>
            <a:ext cx="12192000" cy="6570663"/>
          </a:xfrm>
        </p:spPr>
      </p:pic>
      <p:sp>
        <p:nvSpPr>
          <p:cNvPr id="6" name="Rechteck 5">
            <a:extLst>
              <a:ext uri="{FF2B5EF4-FFF2-40B4-BE49-F238E27FC236}">
                <a16:creationId xmlns:a16="http://schemas.microsoft.com/office/drawing/2014/main" id="{931B18B3-9018-4443-9F85-85D58772F890}"/>
              </a:ext>
            </a:extLst>
          </p:cNvPr>
          <p:cNvSpPr/>
          <p:nvPr/>
        </p:nvSpPr>
        <p:spPr>
          <a:xfrm>
            <a:off x="0" y="0"/>
            <a:ext cx="6096000" cy="5998029"/>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noProof="1">
              <a:solidFill>
                <a:schemeClr val="tx1"/>
              </a:solidFill>
            </a:endParaRPr>
          </a:p>
        </p:txBody>
      </p:sp>
      <p:sp>
        <p:nvSpPr>
          <p:cNvPr id="7" name="Textfeld 6">
            <a:extLst>
              <a:ext uri="{FF2B5EF4-FFF2-40B4-BE49-F238E27FC236}">
                <a16:creationId xmlns:a16="http://schemas.microsoft.com/office/drawing/2014/main" id="{8669F6E6-D2AA-4807-86FC-081471CD8775}"/>
              </a:ext>
            </a:extLst>
          </p:cNvPr>
          <p:cNvSpPr txBox="1"/>
          <p:nvPr/>
        </p:nvSpPr>
        <p:spPr>
          <a:xfrm>
            <a:off x="1175656" y="2087694"/>
            <a:ext cx="3494315" cy="2292935"/>
          </a:xfrm>
          <a:prstGeom prst="rect">
            <a:avLst/>
          </a:prstGeom>
        </p:spPr>
        <p:txBody>
          <a:bodyPr vert="horz" wrap="square" lIns="0" tIns="0" rIns="0" bIns="0" rtlCol="0">
            <a:spAutoFit/>
          </a:bodyPr>
          <a:lstStyle/>
          <a:p>
            <a:pPr algn="l" defTabSz="914400" eaLnBrk="1" latinLnBrk="0" hangingPunct="1">
              <a:lnSpc>
                <a:spcPct val="100000"/>
              </a:lnSpc>
              <a:spcBef>
                <a:spcPts val="0"/>
              </a:spcBef>
              <a:spcAft>
                <a:spcPts val="600"/>
              </a:spcAft>
              <a:buClr>
                <a:schemeClr val="tx2"/>
              </a:buClr>
            </a:pPr>
            <a:r>
              <a:rPr lang="de-DE" sz="1800" kern="1200" noProof="1">
                <a:latin typeface="+mn-lt"/>
                <a:ea typeface="+mn-ea"/>
                <a:cs typeface="+mn-cs"/>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100000"/>
              </a:lnSpc>
              <a:spcBef>
                <a:spcPts val="0"/>
              </a:spcBef>
              <a:spcAft>
                <a:spcPts val="600"/>
              </a:spcAft>
              <a:buClr>
                <a:schemeClr val="tx2"/>
              </a:buClr>
            </a:pPr>
            <a:r>
              <a:rPr lang="de-DE" sz="1800" kern="1200" noProof="1">
                <a:latin typeface="+mn-lt"/>
                <a:ea typeface="+mn-ea"/>
                <a:cs typeface="+mn-cs"/>
              </a:rPr>
              <a:t>Nunc viverra imperdiet enim. Fusce est. Vivamus a tellus.</a:t>
            </a:r>
          </a:p>
        </p:txBody>
      </p:sp>
      <p:sp>
        <p:nvSpPr>
          <p:cNvPr id="8" name="Titel 7">
            <a:extLst>
              <a:ext uri="{FF2B5EF4-FFF2-40B4-BE49-F238E27FC236}">
                <a16:creationId xmlns:a16="http://schemas.microsoft.com/office/drawing/2014/main" id="{37C93CD0-622B-4EF0-888A-E43790951EEC}"/>
              </a:ext>
            </a:extLst>
          </p:cNvPr>
          <p:cNvSpPr>
            <a:spLocks noGrp="1"/>
          </p:cNvSpPr>
          <p:nvPr>
            <p:ph type="title"/>
          </p:nvPr>
        </p:nvSpPr>
        <p:spPr>
          <a:xfrm>
            <a:off x="488947" y="347184"/>
            <a:ext cx="4865478" cy="1024416"/>
          </a:xfrm>
        </p:spPr>
        <p:txBody>
          <a:bodyPr/>
          <a:lstStyle/>
          <a:p>
            <a:endParaRPr lang="de-DE" noProof="1"/>
          </a:p>
        </p:txBody>
      </p:sp>
    </p:spTree>
    <p:extLst>
      <p:ext uri="{BB962C8B-B14F-4D97-AF65-F5344CB8AC3E}">
        <p14:creationId xmlns:p14="http://schemas.microsoft.com/office/powerpoint/2010/main" val="605531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012F4A22-2A7D-45DA-8AA6-7DF17EDE9F32}"/>
              </a:ext>
            </a:extLst>
          </p:cNvPr>
          <p:cNvGraphicFramePr>
            <a:graphicFrameLocks noChangeAspect="1"/>
          </p:cNvGraphicFramePr>
          <p:nvPr>
            <p:custDataLst>
              <p:tags r:id="rId1"/>
            </p:custDataLst>
            <p:extLst>
              <p:ext uri="{D42A27DB-BD31-4B8C-83A1-F6EECF244321}">
                <p14:modId xmlns:p14="http://schemas.microsoft.com/office/powerpoint/2010/main" val="4126395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kt 12" hidden="1">
                        <a:extLst>
                          <a:ext uri="{FF2B5EF4-FFF2-40B4-BE49-F238E27FC236}">
                            <a16:creationId xmlns:a16="http://schemas.microsoft.com/office/drawing/2014/main" id="{012F4A22-2A7D-45DA-8AA6-7DF17EDE9F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31BB471-1543-41CD-8CE5-B80202AF890C}"/>
              </a:ext>
            </a:extLst>
          </p:cNvPr>
          <p:cNvSpPr>
            <a:spLocks noGrp="1"/>
          </p:cNvSpPr>
          <p:nvPr>
            <p:ph type="title"/>
          </p:nvPr>
        </p:nvSpPr>
        <p:spPr/>
        <p:txBody>
          <a:bodyPr/>
          <a:lstStyle/>
          <a:p>
            <a:endParaRPr lang="de-DE" noProof="1"/>
          </a:p>
        </p:txBody>
      </p:sp>
      <p:cxnSp>
        <p:nvCxnSpPr>
          <p:cNvPr id="4" name="Gerader Verbinder 3">
            <a:extLst>
              <a:ext uri="{FF2B5EF4-FFF2-40B4-BE49-F238E27FC236}">
                <a16:creationId xmlns:a16="http://schemas.microsoft.com/office/drawing/2014/main" id="{D56DF1D1-561D-4518-B259-C7D6EBD17EF9}"/>
              </a:ext>
            </a:extLst>
          </p:cNvPr>
          <p:cNvCxnSpPr>
            <a:cxnSpLocks/>
          </p:cNvCxnSpPr>
          <p:nvPr/>
        </p:nvCxnSpPr>
        <p:spPr>
          <a:xfrm>
            <a:off x="467175" y="1412875"/>
            <a:ext cx="3440796" cy="0"/>
          </a:xfrm>
          <a:prstGeom prst="line">
            <a:avLst/>
          </a:prstGeom>
          <a:ln w="19050">
            <a:solidFill>
              <a:srgbClr val="E96D0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E747EA10-D1F6-4C91-992D-7FF91C33A739}"/>
              </a:ext>
            </a:extLst>
          </p:cNvPr>
          <p:cNvCxnSpPr>
            <a:cxnSpLocks/>
          </p:cNvCxnSpPr>
          <p:nvPr/>
        </p:nvCxnSpPr>
        <p:spPr>
          <a:xfrm>
            <a:off x="467175" y="3946525"/>
            <a:ext cx="3440796" cy="0"/>
          </a:xfrm>
          <a:prstGeom prst="line">
            <a:avLst/>
          </a:prstGeom>
          <a:ln w="19050">
            <a:solidFill>
              <a:srgbClr val="E96D0C"/>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13F615A5-0EF8-4178-A36B-DE98CF16969F}"/>
              </a:ext>
            </a:extLst>
          </p:cNvPr>
          <p:cNvSpPr txBox="1"/>
          <p:nvPr/>
        </p:nvSpPr>
        <p:spPr>
          <a:xfrm>
            <a:off x="488947" y="1568306"/>
            <a:ext cx="3419024" cy="1679755"/>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600" noProof="1">
                <a:solidFill>
                  <a:srgbClr val="000000"/>
                </a:solidFill>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sz="1600" noProof="1">
                <a:solidFill>
                  <a:srgbClr val="000000"/>
                </a:solidFill>
              </a:rPr>
              <a:t>Nunc viverra imperdiet enim. Fusce est. Vivamus a tellus.</a:t>
            </a:r>
          </a:p>
        </p:txBody>
      </p:sp>
      <p:sp>
        <p:nvSpPr>
          <p:cNvPr id="10" name="Textfeld 9">
            <a:extLst>
              <a:ext uri="{FF2B5EF4-FFF2-40B4-BE49-F238E27FC236}">
                <a16:creationId xmlns:a16="http://schemas.microsoft.com/office/drawing/2014/main" id="{EFC49855-BA3B-47ED-B1A3-E79A07B01A39}"/>
              </a:ext>
            </a:extLst>
          </p:cNvPr>
          <p:cNvSpPr txBox="1"/>
          <p:nvPr/>
        </p:nvSpPr>
        <p:spPr>
          <a:xfrm>
            <a:off x="488947" y="4134612"/>
            <a:ext cx="3419024" cy="1679755"/>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600" noProof="1">
                <a:solidFill>
                  <a:srgbClr val="000000"/>
                </a:solidFill>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sz="1600" noProof="1">
                <a:solidFill>
                  <a:srgbClr val="000000"/>
                </a:solidFill>
              </a:rPr>
              <a:t>Nunc viverra imperdiet enim. Fusce est. Vivamus a tellus.</a:t>
            </a:r>
          </a:p>
        </p:txBody>
      </p:sp>
      <p:pic>
        <p:nvPicPr>
          <p:cNvPr id="19" name="Grafik 18">
            <a:extLst>
              <a:ext uri="{FF2B5EF4-FFF2-40B4-BE49-F238E27FC236}">
                <a16:creationId xmlns:a16="http://schemas.microsoft.com/office/drawing/2014/main" id="{D7687478-F4C5-4691-AFF4-5FA004000F2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456685" y="3906982"/>
            <a:ext cx="7256946" cy="2401743"/>
          </a:xfrm>
          <a:prstGeom prst="rect">
            <a:avLst/>
          </a:prstGeom>
        </p:spPr>
      </p:pic>
      <p:pic>
        <p:nvPicPr>
          <p:cNvPr id="21" name="Grafik 20">
            <a:extLst>
              <a:ext uri="{FF2B5EF4-FFF2-40B4-BE49-F238E27FC236}">
                <a16:creationId xmlns:a16="http://schemas.microsoft.com/office/drawing/2014/main" id="{5AE12FE0-DF69-4533-9E02-1C197762A96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456685" y="1412875"/>
            <a:ext cx="7256946" cy="2362200"/>
          </a:xfrm>
          <a:prstGeom prst="rect">
            <a:avLst/>
          </a:prstGeom>
        </p:spPr>
      </p:pic>
    </p:spTree>
    <p:extLst>
      <p:ext uri="{BB962C8B-B14F-4D97-AF65-F5344CB8AC3E}">
        <p14:creationId xmlns:p14="http://schemas.microsoft.com/office/powerpoint/2010/main" val="40979628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874FAE58-A427-447E-A77C-A9C70E90849D}"/>
              </a:ext>
            </a:extLst>
          </p:cNvPr>
          <p:cNvGraphicFramePr>
            <a:graphicFrameLocks noChangeAspect="1"/>
          </p:cNvGraphicFramePr>
          <p:nvPr>
            <p:custDataLst>
              <p:tags r:id="rId1"/>
            </p:custDataLst>
            <p:extLst>
              <p:ext uri="{D42A27DB-BD31-4B8C-83A1-F6EECF244321}">
                <p14:modId xmlns:p14="http://schemas.microsoft.com/office/powerpoint/2010/main" val="4059458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8" name="Objekt 17" hidden="1">
                        <a:extLst>
                          <a:ext uri="{FF2B5EF4-FFF2-40B4-BE49-F238E27FC236}">
                            <a16:creationId xmlns:a16="http://schemas.microsoft.com/office/drawing/2014/main" id="{874FAE58-A427-447E-A77C-A9C70E9084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Grafik 16">
            <a:extLst>
              <a:ext uri="{FF2B5EF4-FFF2-40B4-BE49-F238E27FC236}">
                <a16:creationId xmlns:a16="http://schemas.microsoft.com/office/drawing/2014/main" id="{80DFB939-9CAC-4427-8BB4-BFF6E8EE5930}"/>
              </a:ext>
            </a:extLst>
          </p:cNvPr>
          <p:cNvPicPr preferRelativeResize="0">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510651" y="1609188"/>
            <a:ext cx="5201923" cy="3253487"/>
          </a:xfrm>
          <a:prstGeom prst="rect">
            <a:avLst/>
          </a:prstGeom>
        </p:spPr>
      </p:pic>
      <p:pic>
        <p:nvPicPr>
          <p:cNvPr id="21" name="Grafik 20">
            <a:extLst>
              <a:ext uri="{FF2B5EF4-FFF2-40B4-BE49-F238E27FC236}">
                <a16:creationId xmlns:a16="http://schemas.microsoft.com/office/drawing/2014/main" id="{0C1856AB-C70F-4236-A573-EA812EE0629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3488913" y="3861436"/>
            <a:ext cx="2841738" cy="2364916"/>
          </a:xfrm>
          <a:prstGeom prst="rect">
            <a:avLst/>
          </a:prstGeom>
        </p:spPr>
      </p:pic>
      <p:sp>
        <p:nvSpPr>
          <p:cNvPr id="2" name="Titel 1">
            <a:extLst>
              <a:ext uri="{FF2B5EF4-FFF2-40B4-BE49-F238E27FC236}">
                <a16:creationId xmlns:a16="http://schemas.microsoft.com/office/drawing/2014/main" id="{881B3053-B2FE-42D0-9DF9-19F78F045D09}"/>
              </a:ext>
            </a:extLst>
          </p:cNvPr>
          <p:cNvSpPr>
            <a:spLocks noGrp="1"/>
          </p:cNvSpPr>
          <p:nvPr>
            <p:ph type="title"/>
          </p:nvPr>
        </p:nvSpPr>
        <p:spPr/>
        <p:txBody>
          <a:bodyPr/>
          <a:lstStyle/>
          <a:p>
            <a:endParaRPr lang="de-DE" noProof="1"/>
          </a:p>
        </p:txBody>
      </p:sp>
      <p:cxnSp>
        <p:nvCxnSpPr>
          <p:cNvPr id="4" name="Gerader Verbinder 3">
            <a:extLst>
              <a:ext uri="{FF2B5EF4-FFF2-40B4-BE49-F238E27FC236}">
                <a16:creationId xmlns:a16="http://schemas.microsoft.com/office/drawing/2014/main" id="{44F85811-18E7-41DD-BF5C-C0552B4B0922}"/>
              </a:ext>
            </a:extLst>
          </p:cNvPr>
          <p:cNvCxnSpPr>
            <a:cxnSpLocks/>
          </p:cNvCxnSpPr>
          <p:nvPr/>
        </p:nvCxnSpPr>
        <p:spPr>
          <a:xfrm>
            <a:off x="467175" y="1413933"/>
            <a:ext cx="2841738" cy="0"/>
          </a:xfrm>
          <a:prstGeom prst="line">
            <a:avLst/>
          </a:prstGeom>
          <a:ln w="19050">
            <a:solidFill>
              <a:srgbClr val="E96D0C"/>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0E66054E-9AD6-433D-BB1D-43ACF684D20F}"/>
              </a:ext>
            </a:extLst>
          </p:cNvPr>
          <p:cNvSpPr txBox="1"/>
          <p:nvPr/>
        </p:nvSpPr>
        <p:spPr>
          <a:xfrm>
            <a:off x="467175" y="1568306"/>
            <a:ext cx="2841738" cy="213770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600" noProof="1">
                <a:solidFill>
                  <a:srgbClr val="000000"/>
                </a:solidFill>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sz="1600" noProof="1">
                <a:solidFill>
                  <a:srgbClr val="000000"/>
                </a:solidFill>
              </a:rPr>
              <a:t>Nunc viverra imperdiet enim. Fusce est. Vivamus a tellus.</a:t>
            </a:r>
          </a:p>
        </p:txBody>
      </p:sp>
      <p:cxnSp>
        <p:nvCxnSpPr>
          <p:cNvPr id="8" name="Gerader Verbinder 7">
            <a:extLst>
              <a:ext uri="{FF2B5EF4-FFF2-40B4-BE49-F238E27FC236}">
                <a16:creationId xmlns:a16="http://schemas.microsoft.com/office/drawing/2014/main" id="{08F69F29-E83C-4BDE-A533-D59ED3B71A65}"/>
              </a:ext>
            </a:extLst>
          </p:cNvPr>
          <p:cNvCxnSpPr>
            <a:cxnSpLocks/>
          </p:cNvCxnSpPr>
          <p:nvPr/>
        </p:nvCxnSpPr>
        <p:spPr>
          <a:xfrm>
            <a:off x="6510651" y="1413933"/>
            <a:ext cx="5201923" cy="0"/>
          </a:xfrm>
          <a:prstGeom prst="line">
            <a:avLst/>
          </a:prstGeom>
          <a:ln w="19050">
            <a:solidFill>
              <a:srgbClr val="E96D0C"/>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70C5951C-8881-4FE5-A935-6DF5A3850D6F}"/>
              </a:ext>
            </a:extLst>
          </p:cNvPr>
          <p:cNvCxnSpPr>
            <a:cxnSpLocks/>
          </p:cNvCxnSpPr>
          <p:nvPr/>
        </p:nvCxnSpPr>
        <p:spPr>
          <a:xfrm>
            <a:off x="3488913" y="1413933"/>
            <a:ext cx="2841738" cy="0"/>
          </a:xfrm>
          <a:prstGeom prst="line">
            <a:avLst/>
          </a:prstGeom>
          <a:ln w="19050">
            <a:solidFill>
              <a:srgbClr val="E96D0C"/>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E650B840-54C8-4C5E-BA87-DFBCD89DD23F}"/>
              </a:ext>
            </a:extLst>
          </p:cNvPr>
          <p:cNvSpPr txBox="1"/>
          <p:nvPr/>
        </p:nvSpPr>
        <p:spPr>
          <a:xfrm>
            <a:off x="3488913" y="1568306"/>
            <a:ext cx="2841738" cy="2137701"/>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600" noProof="1">
                <a:solidFill>
                  <a:srgbClr val="000000"/>
                </a:solidFill>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sz="1600" noProof="1">
                <a:solidFill>
                  <a:srgbClr val="000000"/>
                </a:solidFill>
              </a:rPr>
              <a:t>Nunc viverra imperdiet enim. Fusce est. Vivamus a tellus.</a:t>
            </a:r>
          </a:p>
        </p:txBody>
      </p:sp>
      <p:sp>
        <p:nvSpPr>
          <p:cNvPr id="13" name="Textfeld 12">
            <a:extLst>
              <a:ext uri="{FF2B5EF4-FFF2-40B4-BE49-F238E27FC236}">
                <a16:creationId xmlns:a16="http://schemas.microsoft.com/office/drawing/2014/main" id="{7F9FB548-6B29-4AEC-A3D0-6BC4C1A83DD9}"/>
              </a:ext>
            </a:extLst>
          </p:cNvPr>
          <p:cNvSpPr txBox="1"/>
          <p:nvPr/>
        </p:nvSpPr>
        <p:spPr>
          <a:xfrm>
            <a:off x="6510651" y="5004543"/>
            <a:ext cx="5201923" cy="1221809"/>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600" noProof="1">
                <a:solidFill>
                  <a:srgbClr val="000000"/>
                </a:solidFill>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sz="1600" noProof="1">
                <a:solidFill>
                  <a:srgbClr val="000000"/>
                </a:solidFill>
              </a:rPr>
              <a:t>Nunc viverra imperdiet enim. Fusce est. Vivamus a tellus.</a:t>
            </a:r>
          </a:p>
        </p:txBody>
      </p:sp>
    </p:spTree>
    <p:extLst>
      <p:ext uri="{BB962C8B-B14F-4D97-AF65-F5344CB8AC3E}">
        <p14:creationId xmlns:p14="http://schemas.microsoft.com/office/powerpoint/2010/main" val="36590631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15563749-8EDD-406D-8B8C-724D590BA536}"/>
              </a:ext>
            </a:extLst>
          </p:cNvPr>
          <p:cNvGraphicFramePr>
            <a:graphicFrameLocks noChangeAspect="1"/>
          </p:cNvGraphicFramePr>
          <p:nvPr>
            <p:custDataLst>
              <p:tags r:id="rId1"/>
            </p:custDataLst>
            <p:extLst>
              <p:ext uri="{D42A27DB-BD31-4B8C-83A1-F6EECF244321}">
                <p14:modId xmlns:p14="http://schemas.microsoft.com/office/powerpoint/2010/main" val="319631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4" name="Objekt 13" hidden="1">
                        <a:extLst>
                          <a:ext uri="{FF2B5EF4-FFF2-40B4-BE49-F238E27FC236}">
                            <a16:creationId xmlns:a16="http://schemas.microsoft.com/office/drawing/2014/main" id="{15563749-8EDD-406D-8B8C-724D590BA5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 name="Grafik 40">
            <a:extLst>
              <a:ext uri="{FF2B5EF4-FFF2-40B4-BE49-F238E27FC236}">
                <a16:creationId xmlns:a16="http://schemas.microsoft.com/office/drawing/2014/main" id="{3F52BD68-C99F-4C68-B48F-3955C73EB224}"/>
              </a:ext>
            </a:extLst>
          </p:cNvPr>
          <p:cNvPicPr>
            <a:picLocks/>
          </p:cNvPicPr>
          <p:nvPr/>
        </p:nvPicPr>
        <p:blipFill rotWithShape="1">
          <a:blip r:embed="rId6" cstate="print">
            <a:extLst>
              <a:ext uri="{28A0092B-C50C-407E-A947-70E740481C1C}">
                <a14:useLocalDpi xmlns:a14="http://schemas.microsoft.com/office/drawing/2010/main" val="0"/>
              </a:ext>
            </a:extLst>
          </a:blip>
          <a:srcRect/>
          <a:stretch/>
        </p:blipFill>
        <p:spPr>
          <a:xfrm>
            <a:off x="4598858" y="1611955"/>
            <a:ext cx="2075942" cy="1024883"/>
          </a:xfrm>
          <a:prstGeom prst="rect">
            <a:avLst/>
          </a:prstGeom>
        </p:spPr>
      </p:pic>
      <p:pic>
        <p:nvPicPr>
          <p:cNvPr id="43" name="Grafik 42">
            <a:extLst>
              <a:ext uri="{FF2B5EF4-FFF2-40B4-BE49-F238E27FC236}">
                <a16:creationId xmlns:a16="http://schemas.microsoft.com/office/drawing/2014/main" id="{7EDADE06-A2A2-4957-BE23-D7262B094A24}"/>
              </a:ext>
            </a:extLst>
          </p:cNvPr>
          <p:cNvPicPr>
            <a:picLocks/>
          </p:cNvPicPr>
          <p:nvPr/>
        </p:nvPicPr>
        <p:blipFill rotWithShape="1">
          <a:blip r:embed="rId7" cstate="print">
            <a:extLst>
              <a:ext uri="{28A0092B-C50C-407E-A947-70E740481C1C}">
                <a14:useLocalDpi xmlns:a14="http://schemas.microsoft.com/office/drawing/2010/main" val="0"/>
              </a:ext>
            </a:extLst>
          </a:blip>
          <a:srcRect/>
          <a:stretch/>
        </p:blipFill>
        <p:spPr>
          <a:xfrm>
            <a:off x="4598858" y="5283842"/>
            <a:ext cx="2075942" cy="1024883"/>
          </a:xfrm>
          <a:prstGeom prst="rect">
            <a:avLst/>
          </a:prstGeom>
        </p:spPr>
      </p:pic>
      <p:pic>
        <p:nvPicPr>
          <p:cNvPr id="45" name="Grafik 44">
            <a:extLst>
              <a:ext uri="{FF2B5EF4-FFF2-40B4-BE49-F238E27FC236}">
                <a16:creationId xmlns:a16="http://schemas.microsoft.com/office/drawing/2014/main" id="{71BEF543-43A0-48C7-9B70-96C43EA2CD1B}"/>
              </a:ext>
            </a:extLst>
          </p:cNvPr>
          <p:cNvPicPr>
            <a:picLocks/>
          </p:cNvPicPr>
          <p:nvPr/>
        </p:nvPicPr>
        <p:blipFill rotWithShape="1">
          <a:blip r:embed="rId8" cstate="print">
            <a:extLst>
              <a:ext uri="{28A0092B-C50C-407E-A947-70E740481C1C}">
                <a14:useLocalDpi xmlns:a14="http://schemas.microsoft.com/office/drawing/2010/main" val="0"/>
              </a:ext>
            </a:extLst>
          </a:blip>
          <a:srcRect/>
          <a:stretch/>
        </p:blipFill>
        <p:spPr>
          <a:xfrm>
            <a:off x="8246245" y="2835918"/>
            <a:ext cx="2075942" cy="1024883"/>
          </a:xfrm>
          <a:prstGeom prst="rect">
            <a:avLst/>
          </a:prstGeom>
        </p:spPr>
      </p:pic>
      <p:pic>
        <p:nvPicPr>
          <p:cNvPr id="47" name="Grafik 46">
            <a:extLst>
              <a:ext uri="{FF2B5EF4-FFF2-40B4-BE49-F238E27FC236}">
                <a16:creationId xmlns:a16="http://schemas.microsoft.com/office/drawing/2014/main" id="{F03CF194-FFDB-475A-8A43-851769998355}"/>
              </a:ext>
            </a:extLst>
          </p:cNvPr>
          <p:cNvPicPr>
            <a:picLocks/>
          </p:cNvPicPr>
          <p:nvPr/>
        </p:nvPicPr>
        <p:blipFill rotWithShape="1">
          <a:blip r:embed="rId9" cstate="print">
            <a:extLst>
              <a:ext uri="{28A0092B-C50C-407E-A947-70E740481C1C}">
                <a14:useLocalDpi xmlns:a14="http://schemas.microsoft.com/office/drawing/2010/main" val="0"/>
              </a:ext>
            </a:extLst>
          </a:blip>
          <a:srcRect/>
          <a:stretch/>
        </p:blipFill>
        <p:spPr>
          <a:xfrm>
            <a:off x="8246245" y="4059881"/>
            <a:ext cx="2075942" cy="1024883"/>
          </a:xfrm>
          <a:prstGeom prst="rect">
            <a:avLst/>
          </a:prstGeom>
        </p:spPr>
      </p:pic>
      <p:pic>
        <p:nvPicPr>
          <p:cNvPr id="49" name="Grafik 48">
            <a:extLst>
              <a:ext uri="{FF2B5EF4-FFF2-40B4-BE49-F238E27FC236}">
                <a16:creationId xmlns:a16="http://schemas.microsoft.com/office/drawing/2014/main" id="{1F8CF838-5C57-48D0-9956-8E6BA9B58E62}"/>
              </a:ext>
            </a:extLst>
          </p:cNvPr>
          <p:cNvPicPr>
            <a:picLocks/>
          </p:cNvPicPr>
          <p:nvPr/>
        </p:nvPicPr>
        <p:blipFill rotWithShape="1">
          <a:blip r:embed="rId10" cstate="print">
            <a:extLst>
              <a:ext uri="{28A0092B-C50C-407E-A947-70E740481C1C}">
                <a14:useLocalDpi xmlns:a14="http://schemas.microsoft.com/office/drawing/2010/main" val="0"/>
              </a:ext>
            </a:extLst>
          </a:blip>
          <a:srcRect/>
          <a:stretch/>
        </p:blipFill>
        <p:spPr>
          <a:xfrm>
            <a:off x="4598858" y="2835917"/>
            <a:ext cx="2075942" cy="1024883"/>
          </a:xfrm>
          <a:prstGeom prst="rect">
            <a:avLst/>
          </a:prstGeom>
        </p:spPr>
      </p:pic>
      <p:pic>
        <p:nvPicPr>
          <p:cNvPr id="51" name="Grafik 50">
            <a:extLst>
              <a:ext uri="{FF2B5EF4-FFF2-40B4-BE49-F238E27FC236}">
                <a16:creationId xmlns:a16="http://schemas.microsoft.com/office/drawing/2014/main" id="{C452E4E7-CEAA-47B6-A0D4-7BE5B1A1954A}"/>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8246245" y="1611955"/>
            <a:ext cx="2075942" cy="1018511"/>
          </a:xfrm>
          <a:prstGeom prst="rect">
            <a:avLst/>
          </a:prstGeom>
        </p:spPr>
      </p:pic>
      <p:pic>
        <p:nvPicPr>
          <p:cNvPr id="53" name="Grafik 52">
            <a:extLst>
              <a:ext uri="{FF2B5EF4-FFF2-40B4-BE49-F238E27FC236}">
                <a16:creationId xmlns:a16="http://schemas.microsoft.com/office/drawing/2014/main" id="{21F547F5-F501-463B-BB4A-CB1C2395FA69}"/>
              </a:ext>
            </a:extLst>
          </p:cNvPr>
          <p:cNvPicPr>
            <a:picLocks/>
          </p:cNvPicPr>
          <p:nvPr/>
        </p:nvPicPr>
        <p:blipFill rotWithShape="1">
          <a:blip r:embed="rId12" cstate="print">
            <a:extLst>
              <a:ext uri="{28A0092B-C50C-407E-A947-70E740481C1C}">
                <a14:useLocalDpi xmlns:a14="http://schemas.microsoft.com/office/drawing/2010/main" val="0"/>
              </a:ext>
            </a:extLst>
          </a:blip>
          <a:srcRect/>
          <a:stretch/>
        </p:blipFill>
        <p:spPr>
          <a:xfrm>
            <a:off x="8246245" y="5283842"/>
            <a:ext cx="2075942" cy="1024883"/>
          </a:xfrm>
          <a:prstGeom prst="rect">
            <a:avLst/>
          </a:prstGeom>
        </p:spPr>
      </p:pic>
      <p:pic>
        <p:nvPicPr>
          <p:cNvPr id="55" name="Grafik 54">
            <a:extLst>
              <a:ext uri="{FF2B5EF4-FFF2-40B4-BE49-F238E27FC236}">
                <a16:creationId xmlns:a16="http://schemas.microsoft.com/office/drawing/2014/main" id="{1170B3FA-7B2F-41A4-8100-E8FBCE87A98A}"/>
              </a:ext>
            </a:extLst>
          </p:cNvPr>
          <p:cNvPicPr>
            <a:picLocks/>
          </p:cNvPicPr>
          <p:nvPr/>
        </p:nvPicPr>
        <p:blipFill rotWithShape="1">
          <a:blip r:embed="rId13" cstate="print">
            <a:extLst>
              <a:ext uri="{28A0092B-C50C-407E-A947-70E740481C1C}">
                <a14:useLocalDpi xmlns:a14="http://schemas.microsoft.com/office/drawing/2010/main" val="0"/>
              </a:ext>
            </a:extLst>
          </a:blip>
          <a:srcRect l="-532"/>
          <a:stretch/>
        </p:blipFill>
        <p:spPr>
          <a:xfrm>
            <a:off x="4598858" y="4059879"/>
            <a:ext cx="2075942" cy="1024883"/>
          </a:xfrm>
          <a:prstGeom prst="rect">
            <a:avLst/>
          </a:prstGeom>
        </p:spPr>
      </p:pic>
      <p:sp>
        <p:nvSpPr>
          <p:cNvPr id="2" name="Titel 1">
            <a:extLst>
              <a:ext uri="{FF2B5EF4-FFF2-40B4-BE49-F238E27FC236}">
                <a16:creationId xmlns:a16="http://schemas.microsoft.com/office/drawing/2014/main" id="{AB7F915E-E64B-4ACF-A218-DF9970F35867}"/>
              </a:ext>
            </a:extLst>
          </p:cNvPr>
          <p:cNvSpPr>
            <a:spLocks noGrp="1"/>
          </p:cNvSpPr>
          <p:nvPr>
            <p:ph type="title"/>
          </p:nvPr>
        </p:nvSpPr>
        <p:spPr/>
        <p:txBody>
          <a:bodyPr/>
          <a:lstStyle/>
          <a:p>
            <a:endParaRPr lang="de-DE" noProof="1"/>
          </a:p>
        </p:txBody>
      </p:sp>
      <p:cxnSp>
        <p:nvCxnSpPr>
          <p:cNvPr id="4" name="Gerader Verbinder 3">
            <a:extLst>
              <a:ext uri="{FF2B5EF4-FFF2-40B4-BE49-F238E27FC236}">
                <a16:creationId xmlns:a16="http://schemas.microsoft.com/office/drawing/2014/main" id="{1405AC93-20AC-4937-9C77-E96AF11DAFDB}"/>
              </a:ext>
            </a:extLst>
          </p:cNvPr>
          <p:cNvCxnSpPr>
            <a:cxnSpLocks/>
          </p:cNvCxnSpPr>
          <p:nvPr/>
        </p:nvCxnSpPr>
        <p:spPr>
          <a:xfrm>
            <a:off x="488947" y="1412875"/>
            <a:ext cx="2538466"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95B6A476-54E3-4B0A-8A8F-CDC2E56FF340}"/>
              </a:ext>
            </a:extLst>
          </p:cNvPr>
          <p:cNvSpPr txBox="1"/>
          <p:nvPr/>
        </p:nvSpPr>
        <p:spPr>
          <a:xfrm>
            <a:off x="488947" y="1611955"/>
            <a:ext cx="2577361" cy="1880323"/>
          </a:xfrm>
          <a:prstGeom prst="rect">
            <a:avLst/>
          </a:prstGeom>
        </p:spPr>
        <p:txBody>
          <a:bodyPr vert="horz" wrap="square" lIns="0" tIns="0" rIns="0" bIns="0" rtlCol="0">
            <a:spAutoFit/>
          </a:bodyPr>
          <a:lstStyle/>
          <a:p>
            <a:pPr algn="l" defTabSz="914400" eaLnBrk="1" latinLnBrk="0" hangingPunct="1">
              <a:lnSpc>
                <a:spcPct val="93000"/>
              </a:lnSpc>
              <a:spcAft>
                <a:spcPts val="600"/>
              </a:spcAft>
              <a:buClr>
                <a:schemeClr val="tx2"/>
              </a:buClr>
            </a:pPr>
            <a:r>
              <a:rPr lang="de-DE" sz="1400" noProof="1">
                <a:solidFill>
                  <a:srgbClr val="000000"/>
                </a:solidFill>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600"/>
              </a:spcAft>
              <a:buClr>
                <a:schemeClr val="tx2"/>
              </a:buClr>
            </a:pPr>
            <a:r>
              <a:rPr lang="de-DE" sz="1400" noProof="1">
                <a:solidFill>
                  <a:srgbClr val="000000"/>
                </a:solidFill>
              </a:rPr>
              <a:t>Nunc viverra imperdiet enim. Fusce est. Vivamus a tellus.</a:t>
            </a:r>
          </a:p>
        </p:txBody>
      </p:sp>
      <p:cxnSp>
        <p:nvCxnSpPr>
          <p:cNvPr id="7" name="Gerader Verbinder 6">
            <a:extLst>
              <a:ext uri="{FF2B5EF4-FFF2-40B4-BE49-F238E27FC236}">
                <a16:creationId xmlns:a16="http://schemas.microsoft.com/office/drawing/2014/main" id="{6E54D32A-6B83-41D7-B4C8-48DBDA55A383}"/>
              </a:ext>
            </a:extLst>
          </p:cNvPr>
          <p:cNvCxnSpPr>
            <a:cxnSpLocks/>
          </p:cNvCxnSpPr>
          <p:nvPr/>
        </p:nvCxnSpPr>
        <p:spPr>
          <a:xfrm>
            <a:off x="3207413" y="1412875"/>
            <a:ext cx="1211445"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68E896A1-E713-46B7-AF5C-A2D72086B448}"/>
              </a:ext>
            </a:extLst>
          </p:cNvPr>
          <p:cNvSpPr txBox="1"/>
          <p:nvPr/>
        </p:nvSpPr>
        <p:spPr>
          <a:xfrm>
            <a:off x="3207413" y="1611955"/>
            <a:ext cx="1211445" cy="861774"/>
          </a:xfrm>
          <a:prstGeom prst="rect">
            <a:avLst/>
          </a:prstGeom>
          <a:noFill/>
        </p:spPr>
        <p:txBody>
          <a:bodyPr wrap="square" lIns="0" tIns="0" rIns="0" bIns="0">
            <a:spAutoFit/>
          </a:bodyPr>
          <a:lstStyle/>
          <a:p>
            <a:r>
              <a:rPr lang="fr-FR" sz="1400" b="1" noProof="1">
                <a:solidFill>
                  <a:srgbClr val="000000"/>
                </a:solidFill>
              </a:rPr>
              <a:t>Pellentesque habitant morbi tristique senectus.</a:t>
            </a:r>
          </a:p>
        </p:txBody>
      </p:sp>
      <p:cxnSp>
        <p:nvCxnSpPr>
          <p:cNvPr id="11" name="Gerader Verbinder 10">
            <a:extLst>
              <a:ext uri="{FF2B5EF4-FFF2-40B4-BE49-F238E27FC236}">
                <a16:creationId xmlns:a16="http://schemas.microsoft.com/office/drawing/2014/main" id="{1EB61A62-C2E1-4CEC-A77B-199A1100EA6C}"/>
              </a:ext>
            </a:extLst>
          </p:cNvPr>
          <p:cNvCxnSpPr>
            <a:cxnSpLocks/>
          </p:cNvCxnSpPr>
          <p:nvPr/>
        </p:nvCxnSpPr>
        <p:spPr>
          <a:xfrm>
            <a:off x="10502188" y="1412875"/>
            <a:ext cx="1211445"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E00795B9-4969-4497-BBED-DBBCBF28E979}"/>
              </a:ext>
            </a:extLst>
          </p:cNvPr>
          <p:cNvCxnSpPr>
            <a:cxnSpLocks/>
          </p:cNvCxnSpPr>
          <p:nvPr/>
        </p:nvCxnSpPr>
        <p:spPr>
          <a:xfrm>
            <a:off x="6854800" y="1412875"/>
            <a:ext cx="1211445"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5EA53415-0D65-4A5B-A790-EB13F5067E49}"/>
              </a:ext>
            </a:extLst>
          </p:cNvPr>
          <p:cNvCxnSpPr>
            <a:cxnSpLocks/>
          </p:cNvCxnSpPr>
          <p:nvPr/>
        </p:nvCxnSpPr>
        <p:spPr>
          <a:xfrm>
            <a:off x="4598858" y="1412875"/>
            <a:ext cx="2075942"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A7C42CBC-B6C8-4E8E-B74D-F4A5186AA063}"/>
              </a:ext>
            </a:extLst>
          </p:cNvPr>
          <p:cNvCxnSpPr>
            <a:cxnSpLocks/>
          </p:cNvCxnSpPr>
          <p:nvPr/>
        </p:nvCxnSpPr>
        <p:spPr>
          <a:xfrm>
            <a:off x="8246245" y="1412875"/>
            <a:ext cx="2075942" cy="0"/>
          </a:xfrm>
          <a:prstGeom prst="line">
            <a:avLst/>
          </a:prstGeom>
          <a:ln w="190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74360B50-2975-4888-9C17-AEBAAA71C86C}"/>
              </a:ext>
            </a:extLst>
          </p:cNvPr>
          <p:cNvSpPr txBox="1"/>
          <p:nvPr/>
        </p:nvSpPr>
        <p:spPr>
          <a:xfrm>
            <a:off x="6854800" y="1611955"/>
            <a:ext cx="1211445" cy="861774"/>
          </a:xfrm>
          <a:prstGeom prst="rect">
            <a:avLst/>
          </a:prstGeom>
          <a:noFill/>
        </p:spPr>
        <p:txBody>
          <a:bodyPr wrap="square" lIns="0" tIns="0" rIns="0" bIns="0">
            <a:spAutoFit/>
          </a:bodyPr>
          <a:lstStyle/>
          <a:p>
            <a:r>
              <a:rPr lang="fr-FR" sz="1400" noProof="1">
                <a:solidFill>
                  <a:srgbClr val="000000"/>
                </a:solidFill>
              </a:rPr>
              <a:t>Pellentesque habitant morbi tristique senectus.</a:t>
            </a:r>
          </a:p>
        </p:txBody>
      </p:sp>
      <p:sp>
        <p:nvSpPr>
          <p:cNvPr id="19" name="Textfeld 18">
            <a:extLst>
              <a:ext uri="{FF2B5EF4-FFF2-40B4-BE49-F238E27FC236}">
                <a16:creationId xmlns:a16="http://schemas.microsoft.com/office/drawing/2014/main" id="{47C5EFDF-1C31-4BBF-BA1C-35FD71122A28}"/>
              </a:ext>
            </a:extLst>
          </p:cNvPr>
          <p:cNvSpPr txBox="1"/>
          <p:nvPr/>
        </p:nvSpPr>
        <p:spPr>
          <a:xfrm>
            <a:off x="10502188" y="1611955"/>
            <a:ext cx="1211445" cy="861774"/>
          </a:xfrm>
          <a:prstGeom prst="rect">
            <a:avLst/>
          </a:prstGeom>
          <a:noFill/>
        </p:spPr>
        <p:txBody>
          <a:bodyPr wrap="square" lIns="0" tIns="0" rIns="0" bIns="0">
            <a:spAutoFit/>
          </a:bodyPr>
          <a:lstStyle/>
          <a:p>
            <a:r>
              <a:rPr lang="fr-FR" sz="1400" noProof="1">
                <a:solidFill>
                  <a:srgbClr val="000000"/>
                </a:solidFill>
              </a:rPr>
              <a:t>Pellentesque habitant morbi tristique senectus.</a:t>
            </a:r>
          </a:p>
        </p:txBody>
      </p:sp>
      <p:sp>
        <p:nvSpPr>
          <p:cNvPr id="32" name="Textfeld 31">
            <a:extLst>
              <a:ext uri="{FF2B5EF4-FFF2-40B4-BE49-F238E27FC236}">
                <a16:creationId xmlns:a16="http://schemas.microsoft.com/office/drawing/2014/main" id="{A8D22E14-DDA1-45AF-8201-415E1785A8FC}"/>
              </a:ext>
            </a:extLst>
          </p:cNvPr>
          <p:cNvSpPr txBox="1"/>
          <p:nvPr/>
        </p:nvSpPr>
        <p:spPr>
          <a:xfrm>
            <a:off x="6854800" y="2835918"/>
            <a:ext cx="1211445" cy="861774"/>
          </a:xfrm>
          <a:prstGeom prst="rect">
            <a:avLst/>
          </a:prstGeom>
          <a:noFill/>
        </p:spPr>
        <p:txBody>
          <a:bodyPr wrap="square" lIns="0" tIns="0" rIns="0" bIns="0">
            <a:spAutoFit/>
          </a:bodyPr>
          <a:lstStyle/>
          <a:p>
            <a:r>
              <a:rPr lang="fr-FR" sz="1400" noProof="1">
                <a:solidFill>
                  <a:srgbClr val="000000"/>
                </a:solidFill>
              </a:rPr>
              <a:t>Pellentesque habitant morbi tristique senectus.</a:t>
            </a:r>
          </a:p>
        </p:txBody>
      </p:sp>
      <p:sp>
        <p:nvSpPr>
          <p:cNvPr id="33" name="Textfeld 32">
            <a:extLst>
              <a:ext uri="{FF2B5EF4-FFF2-40B4-BE49-F238E27FC236}">
                <a16:creationId xmlns:a16="http://schemas.microsoft.com/office/drawing/2014/main" id="{9223AF6B-7940-4262-8DD0-13B15508FE3A}"/>
              </a:ext>
            </a:extLst>
          </p:cNvPr>
          <p:cNvSpPr txBox="1"/>
          <p:nvPr/>
        </p:nvSpPr>
        <p:spPr>
          <a:xfrm>
            <a:off x="6854800" y="4059881"/>
            <a:ext cx="1211445" cy="861774"/>
          </a:xfrm>
          <a:prstGeom prst="rect">
            <a:avLst/>
          </a:prstGeom>
          <a:noFill/>
        </p:spPr>
        <p:txBody>
          <a:bodyPr wrap="square" lIns="0" tIns="0" rIns="0" bIns="0">
            <a:spAutoFit/>
          </a:bodyPr>
          <a:lstStyle/>
          <a:p>
            <a:r>
              <a:rPr lang="fr-FR" sz="1400" noProof="1">
                <a:solidFill>
                  <a:srgbClr val="000000"/>
                </a:solidFill>
              </a:rPr>
              <a:t>Pellentesque habitant morbi tristique senectus.</a:t>
            </a:r>
          </a:p>
        </p:txBody>
      </p:sp>
      <p:sp>
        <p:nvSpPr>
          <p:cNvPr id="34" name="Textfeld 33">
            <a:extLst>
              <a:ext uri="{FF2B5EF4-FFF2-40B4-BE49-F238E27FC236}">
                <a16:creationId xmlns:a16="http://schemas.microsoft.com/office/drawing/2014/main" id="{F44FF781-3CCC-40D6-899E-4B9A036A8228}"/>
              </a:ext>
            </a:extLst>
          </p:cNvPr>
          <p:cNvSpPr txBox="1"/>
          <p:nvPr/>
        </p:nvSpPr>
        <p:spPr>
          <a:xfrm>
            <a:off x="6854800" y="5283842"/>
            <a:ext cx="1211445" cy="861774"/>
          </a:xfrm>
          <a:prstGeom prst="rect">
            <a:avLst/>
          </a:prstGeom>
          <a:noFill/>
        </p:spPr>
        <p:txBody>
          <a:bodyPr wrap="square" lIns="0" tIns="0" rIns="0" bIns="0">
            <a:spAutoFit/>
          </a:bodyPr>
          <a:lstStyle/>
          <a:p>
            <a:r>
              <a:rPr lang="fr-FR" sz="1400" noProof="1">
                <a:solidFill>
                  <a:srgbClr val="000000"/>
                </a:solidFill>
              </a:rPr>
              <a:t>Pellentesque habitant morbi tristique senectus.</a:t>
            </a:r>
          </a:p>
        </p:txBody>
      </p:sp>
      <p:sp>
        <p:nvSpPr>
          <p:cNvPr id="37" name="Textfeld 36">
            <a:extLst>
              <a:ext uri="{FF2B5EF4-FFF2-40B4-BE49-F238E27FC236}">
                <a16:creationId xmlns:a16="http://schemas.microsoft.com/office/drawing/2014/main" id="{659EC230-9AB7-48BE-9DC6-BB1046026BB3}"/>
              </a:ext>
            </a:extLst>
          </p:cNvPr>
          <p:cNvSpPr txBox="1"/>
          <p:nvPr/>
        </p:nvSpPr>
        <p:spPr>
          <a:xfrm>
            <a:off x="10502188" y="2835918"/>
            <a:ext cx="1211445" cy="861774"/>
          </a:xfrm>
          <a:prstGeom prst="rect">
            <a:avLst/>
          </a:prstGeom>
          <a:noFill/>
        </p:spPr>
        <p:txBody>
          <a:bodyPr wrap="square" lIns="0" tIns="0" rIns="0" bIns="0">
            <a:spAutoFit/>
          </a:bodyPr>
          <a:lstStyle/>
          <a:p>
            <a:r>
              <a:rPr lang="fr-FR" sz="1400" noProof="1">
                <a:solidFill>
                  <a:srgbClr val="000000"/>
                </a:solidFill>
              </a:rPr>
              <a:t>Pellentesque habitant morbi tristique senectus.</a:t>
            </a:r>
          </a:p>
        </p:txBody>
      </p:sp>
      <p:sp>
        <p:nvSpPr>
          <p:cNvPr id="38" name="Textfeld 37">
            <a:extLst>
              <a:ext uri="{FF2B5EF4-FFF2-40B4-BE49-F238E27FC236}">
                <a16:creationId xmlns:a16="http://schemas.microsoft.com/office/drawing/2014/main" id="{56B623BE-89A0-4F3A-AFA7-7B5A1EADCC53}"/>
              </a:ext>
            </a:extLst>
          </p:cNvPr>
          <p:cNvSpPr txBox="1"/>
          <p:nvPr/>
        </p:nvSpPr>
        <p:spPr>
          <a:xfrm>
            <a:off x="10502188" y="4059881"/>
            <a:ext cx="1211445" cy="861774"/>
          </a:xfrm>
          <a:prstGeom prst="rect">
            <a:avLst/>
          </a:prstGeom>
          <a:noFill/>
        </p:spPr>
        <p:txBody>
          <a:bodyPr wrap="square" lIns="0" tIns="0" rIns="0" bIns="0">
            <a:spAutoFit/>
          </a:bodyPr>
          <a:lstStyle/>
          <a:p>
            <a:r>
              <a:rPr lang="fr-FR" sz="1400" noProof="1">
                <a:solidFill>
                  <a:srgbClr val="000000"/>
                </a:solidFill>
              </a:rPr>
              <a:t>Pellentesque habitant morbi tristique senectus.</a:t>
            </a:r>
          </a:p>
        </p:txBody>
      </p:sp>
      <p:sp>
        <p:nvSpPr>
          <p:cNvPr id="39" name="Textfeld 38">
            <a:extLst>
              <a:ext uri="{FF2B5EF4-FFF2-40B4-BE49-F238E27FC236}">
                <a16:creationId xmlns:a16="http://schemas.microsoft.com/office/drawing/2014/main" id="{BE482CD5-0448-43BF-90B9-9622C420B4A4}"/>
              </a:ext>
            </a:extLst>
          </p:cNvPr>
          <p:cNvSpPr txBox="1"/>
          <p:nvPr/>
        </p:nvSpPr>
        <p:spPr>
          <a:xfrm>
            <a:off x="10502188" y="5283842"/>
            <a:ext cx="1211445" cy="861774"/>
          </a:xfrm>
          <a:prstGeom prst="rect">
            <a:avLst/>
          </a:prstGeom>
          <a:noFill/>
        </p:spPr>
        <p:txBody>
          <a:bodyPr wrap="square" lIns="0" tIns="0" rIns="0" bIns="0">
            <a:spAutoFit/>
          </a:bodyPr>
          <a:lstStyle/>
          <a:p>
            <a:r>
              <a:rPr lang="fr-FR" sz="1400" noProof="1">
                <a:solidFill>
                  <a:srgbClr val="000000"/>
                </a:solidFill>
              </a:rPr>
              <a:t>Pellentesque habitant morbi tristique senectus.</a:t>
            </a:r>
          </a:p>
        </p:txBody>
      </p:sp>
    </p:spTree>
    <p:extLst>
      <p:ext uri="{BB962C8B-B14F-4D97-AF65-F5344CB8AC3E}">
        <p14:creationId xmlns:p14="http://schemas.microsoft.com/office/powerpoint/2010/main" val="9322140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670C2CF-DA93-40C4-85AF-38E17D3C487D}"/>
              </a:ext>
            </a:extLst>
          </p:cNvPr>
          <p:cNvGraphicFramePr>
            <a:graphicFrameLocks noChangeAspect="1"/>
          </p:cNvGraphicFramePr>
          <p:nvPr>
            <p:custDataLst>
              <p:tags r:id="rId1"/>
            </p:custDataLst>
            <p:extLst>
              <p:ext uri="{D42A27DB-BD31-4B8C-83A1-F6EECF244321}">
                <p14:modId xmlns:p14="http://schemas.microsoft.com/office/powerpoint/2010/main" val="2608393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0" name="Objekt 9" hidden="1">
                        <a:extLst>
                          <a:ext uri="{FF2B5EF4-FFF2-40B4-BE49-F238E27FC236}">
                            <a16:creationId xmlns:a16="http://schemas.microsoft.com/office/drawing/2014/main" id="{6670C2CF-DA93-40C4-85AF-38E17D3C48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42900914-1E1E-4416-B923-8E532B7215E1}"/>
              </a:ext>
            </a:extLst>
          </p:cNvPr>
          <p:cNvSpPr/>
          <p:nvPr/>
        </p:nvSpPr>
        <p:spPr>
          <a:xfrm>
            <a:off x="0" y="1412876"/>
            <a:ext cx="6096000" cy="5157787"/>
          </a:xfrm>
          <a:prstGeom prst="rect">
            <a:avLst/>
          </a:prstGeom>
          <a:gradFill>
            <a:gsLst>
              <a:gs pos="33000">
                <a:srgbClr val="76102D"/>
              </a:gs>
              <a:gs pos="100000">
                <a:srgbClr val="E96D0C"/>
              </a:gs>
            </a:gsLst>
            <a:lin ang="27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152000" rIns="1152000" rtlCol="0" anchor="ctr" anchorCtr="0"/>
          <a:lstStyle/>
          <a:p>
            <a:pPr marL="0" marR="0" lvl="0" indent="0" algn="l" defTabSz="914400" eaLnBrk="1" fontAlgn="auto" latinLnBrk="0" hangingPunct="1">
              <a:lnSpc>
                <a:spcPct val="93000"/>
              </a:lnSpc>
              <a:spcBef>
                <a:spcPts val="0"/>
              </a:spcBef>
              <a:spcAft>
                <a:spcPts val="600"/>
              </a:spcAft>
              <a:buClr>
                <a:srgbClr val="035970"/>
              </a:buClr>
              <a:buSzTx/>
              <a:buFontTx/>
              <a:buNone/>
              <a:tabLst/>
              <a:defRPr/>
            </a:pPr>
            <a:r>
              <a:rPr kumimoji="0" lang="de-DE" sz="2400" b="0" i="0" u="none" strike="noStrike" kern="1200" cap="none" spc="0" normalizeH="0" baseline="0" noProof="1">
                <a:ln>
                  <a:noFill/>
                </a:ln>
                <a:solidFill>
                  <a:srgbClr val="FFFFFF"/>
                </a:solidFill>
                <a:effectLst/>
                <a:uLnTx/>
                <a:uFillTx/>
                <a:latin typeface="BMWGroupTN Condensed"/>
                <a:ea typeface="+mn-ea"/>
                <a:cs typeface="+mn-cs"/>
              </a:rPr>
              <a:t>Lorem ipsum dolor sit amet, consectetuer adipiscing elit. Maecenas porttitor congue massa. Fusce posuere, magna sed pulvinar ultricies, purus lectus malesuada libero, sit amet commodo magna eros quis urna.</a:t>
            </a:r>
            <a:endParaRPr lang="de-DE" sz="2400" noProof="1">
              <a:solidFill>
                <a:schemeClr val="tx1"/>
              </a:solidFill>
            </a:endParaRPr>
          </a:p>
        </p:txBody>
      </p:sp>
      <p:sp>
        <p:nvSpPr>
          <p:cNvPr id="2" name="Titel 1">
            <a:extLst>
              <a:ext uri="{FF2B5EF4-FFF2-40B4-BE49-F238E27FC236}">
                <a16:creationId xmlns:a16="http://schemas.microsoft.com/office/drawing/2014/main" id="{68630A46-6FD9-4965-B218-9BA11C657568}"/>
              </a:ext>
            </a:extLst>
          </p:cNvPr>
          <p:cNvSpPr>
            <a:spLocks noGrp="1"/>
          </p:cNvSpPr>
          <p:nvPr>
            <p:ph type="title"/>
          </p:nvPr>
        </p:nvSpPr>
        <p:spPr/>
        <p:txBody>
          <a:bodyPr/>
          <a:lstStyle/>
          <a:p>
            <a:endParaRPr lang="de-DE" noProof="1"/>
          </a:p>
        </p:txBody>
      </p:sp>
      <p:sp>
        <p:nvSpPr>
          <p:cNvPr id="6" name="Textfeld 5">
            <a:extLst>
              <a:ext uri="{FF2B5EF4-FFF2-40B4-BE49-F238E27FC236}">
                <a16:creationId xmlns:a16="http://schemas.microsoft.com/office/drawing/2014/main" id="{DF6A6232-6725-4611-B098-F6E0FB55EA97}"/>
              </a:ext>
            </a:extLst>
          </p:cNvPr>
          <p:cNvSpPr txBox="1"/>
          <p:nvPr/>
        </p:nvSpPr>
        <p:spPr>
          <a:xfrm>
            <a:off x="7084620" y="1751721"/>
            <a:ext cx="3494315" cy="3553280"/>
          </a:xfrm>
          <a:prstGeom prst="rect">
            <a:avLst/>
          </a:prstGeom>
        </p:spPr>
        <p:txBody>
          <a:bodyPr vert="horz" wrap="square" lIns="0" tIns="0" rIns="0" bIns="0" rtlCol="0">
            <a:spAutoFit/>
          </a:bodyPr>
          <a:lstStyle/>
          <a:p>
            <a:pPr algn="l" defTabSz="914400" eaLnBrk="1" latinLnBrk="0" hangingPunct="1">
              <a:lnSpc>
                <a:spcPct val="93000"/>
              </a:lnSpc>
              <a:spcAft>
                <a:spcPts val="1200"/>
              </a:spcAft>
              <a:buClr>
                <a:schemeClr val="tx2"/>
              </a:buClr>
            </a:pPr>
            <a:r>
              <a:rPr lang="de-DE" sz="1800" kern="1200" noProof="1">
                <a:latin typeface="+mn-lt"/>
                <a:ea typeface="+mn-ea"/>
                <a:cs typeface="+mn-cs"/>
              </a:rPr>
              <a:t>Lorem ipsum dolor sit amet, consectetuer adipiscing elit. Maecenas porttitor congue massa. </a:t>
            </a:r>
          </a:p>
          <a:p>
            <a:pPr marL="285750" indent="-285750" algn="l" defTabSz="914400" eaLnBrk="1" latinLnBrk="0" hangingPunct="1">
              <a:lnSpc>
                <a:spcPct val="93000"/>
              </a:lnSpc>
              <a:spcAft>
                <a:spcPts val="1200"/>
              </a:spcAft>
              <a:buClr>
                <a:schemeClr val="tx2"/>
              </a:buClr>
              <a:buFont typeface="Wingdings" panose="05000000000000000000" pitchFamily="2" charset="2"/>
              <a:buChar char="§"/>
            </a:pPr>
            <a:r>
              <a:rPr lang="fr-FR" sz="1800" kern="1200" noProof="1">
                <a:latin typeface="+mn-lt"/>
                <a:ea typeface="+mn-ea"/>
                <a:cs typeface="+mn-cs"/>
              </a:rPr>
              <a:t>Pellentesque habitant morbi tristique senectus.</a:t>
            </a:r>
          </a:p>
          <a:p>
            <a:pPr marL="285750" indent="-285750" algn="l" defTabSz="914400" eaLnBrk="1" latinLnBrk="0" hangingPunct="1">
              <a:lnSpc>
                <a:spcPct val="93000"/>
              </a:lnSpc>
              <a:spcAft>
                <a:spcPts val="1200"/>
              </a:spcAft>
              <a:buClr>
                <a:schemeClr val="tx2"/>
              </a:buClr>
              <a:buFont typeface="Wingdings" panose="05000000000000000000" pitchFamily="2" charset="2"/>
              <a:buChar char="§"/>
            </a:pPr>
            <a:r>
              <a:rPr lang="fr-FR" sz="1800" kern="1200" noProof="1">
                <a:latin typeface="+mn-lt"/>
                <a:ea typeface="+mn-ea"/>
                <a:cs typeface="+mn-cs"/>
              </a:rPr>
              <a:t>Pellentesque habitant morbi tristique senectus.</a:t>
            </a:r>
          </a:p>
          <a:p>
            <a:pPr algn="l" defTabSz="914400" eaLnBrk="1" latinLnBrk="0" hangingPunct="1">
              <a:lnSpc>
                <a:spcPct val="93000"/>
              </a:lnSpc>
              <a:spcAft>
                <a:spcPts val="1200"/>
              </a:spcAft>
              <a:buClr>
                <a:schemeClr val="tx2"/>
              </a:buClr>
            </a:pPr>
            <a:r>
              <a:rPr lang="de-DE" sz="1800" kern="1200" noProof="1">
                <a:latin typeface="+mn-lt"/>
                <a:ea typeface="+mn-ea"/>
                <a:cs typeface="+mn-cs"/>
              </a:rPr>
              <a:t>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24866547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FAD8C51-FB89-4A65-8669-DF3AB8DFE9C6}"/>
              </a:ext>
            </a:extLst>
          </p:cNvPr>
          <p:cNvGraphicFramePr>
            <a:graphicFrameLocks noChangeAspect="1"/>
          </p:cNvGraphicFramePr>
          <p:nvPr>
            <p:custDataLst>
              <p:tags r:id="rId1"/>
            </p:custDataLst>
            <p:extLst>
              <p:ext uri="{D42A27DB-BD31-4B8C-83A1-F6EECF244321}">
                <p14:modId xmlns:p14="http://schemas.microsoft.com/office/powerpoint/2010/main" val="2639626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0" name="Objekt 9" hidden="1">
                        <a:extLst>
                          <a:ext uri="{FF2B5EF4-FFF2-40B4-BE49-F238E27FC236}">
                            <a16:creationId xmlns:a16="http://schemas.microsoft.com/office/drawing/2014/main" id="{5FAD8C51-FB89-4A65-8669-DF3AB8DFE9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42900914-1E1E-4416-B923-8E532B7215E1}"/>
              </a:ext>
            </a:extLst>
          </p:cNvPr>
          <p:cNvSpPr/>
          <p:nvPr/>
        </p:nvSpPr>
        <p:spPr>
          <a:xfrm>
            <a:off x="7253042" y="0"/>
            <a:ext cx="4460589" cy="6858000"/>
          </a:xfrm>
          <a:prstGeom prst="rect">
            <a:avLst/>
          </a:prstGeom>
          <a:gradFill>
            <a:gsLst>
              <a:gs pos="28000">
                <a:srgbClr val="133155"/>
              </a:gs>
              <a:gs pos="100000">
                <a:srgbClr val="508130"/>
              </a:gs>
            </a:gsLst>
            <a:lin ang="27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nchorCtr="0"/>
          <a:lstStyle/>
          <a:p>
            <a:pPr marL="0" marR="0" lvl="0" indent="0" algn="l" defTabSz="914400" eaLnBrk="1" fontAlgn="auto" latinLnBrk="0" hangingPunct="1">
              <a:lnSpc>
                <a:spcPct val="100000"/>
              </a:lnSpc>
              <a:spcBef>
                <a:spcPts val="0"/>
              </a:spcBef>
              <a:spcAft>
                <a:spcPts val="600"/>
              </a:spcAft>
              <a:buClr>
                <a:srgbClr val="035970"/>
              </a:buClr>
              <a:buSzTx/>
              <a:buFontTx/>
              <a:buNone/>
              <a:tabLst/>
              <a:defRPr/>
            </a:pPr>
            <a:r>
              <a:rPr kumimoji="0" lang="de-DE" sz="2400" b="0" i="0" u="none" strike="noStrike" kern="1200" cap="none" spc="0" normalizeH="0" baseline="0" noProof="1">
                <a:ln>
                  <a:noFill/>
                </a:ln>
                <a:solidFill>
                  <a:srgbClr val="FFFFFF"/>
                </a:solidFill>
                <a:effectLst/>
                <a:uLnTx/>
                <a:uFillTx/>
                <a:latin typeface="BMWGroupTN Condensed"/>
                <a:ea typeface="+mn-ea"/>
                <a:cs typeface="+mn-cs"/>
              </a:rPr>
              <a:t>Lorem ipsum dolor sit amet, consectetuer adipiscing elit. Maecenas porttitor congue massa. Fusce posuere, magna sed pulvinar ultricies, purus lectus malesuada libero, sit amet commodo magna eros quis urna.</a:t>
            </a:r>
            <a:endParaRPr lang="de-DE" sz="2400" noProof="1">
              <a:solidFill>
                <a:schemeClr val="tx1"/>
              </a:solidFill>
            </a:endParaRPr>
          </a:p>
        </p:txBody>
      </p:sp>
      <p:sp>
        <p:nvSpPr>
          <p:cNvPr id="2" name="Titel 1">
            <a:extLst>
              <a:ext uri="{FF2B5EF4-FFF2-40B4-BE49-F238E27FC236}">
                <a16:creationId xmlns:a16="http://schemas.microsoft.com/office/drawing/2014/main" id="{A5555CBC-A266-4179-82F6-FBF3CF7A8F3A}"/>
              </a:ext>
            </a:extLst>
          </p:cNvPr>
          <p:cNvSpPr>
            <a:spLocks noGrp="1"/>
          </p:cNvSpPr>
          <p:nvPr>
            <p:ph type="title"/>
          </p:nvPr>
        </p:nvSpPr>
        <p:spPr>
          <a:xfrm>
            <a:off x="488947" y="347184"/>
            <a:ext cx="5685610" cy="400110"/>
          </a:xfrm>
        </p:spPr>
        <p:txBody>
          <a:bodyPr/>
          <a:lstStyle/>
          <a:p>
            <a:endParaRPr lang="de-DE" noProof="1"/>
          </a:p>
        </p:txBody>
      </p:sp>
      <p:sp>
        <p:nvSpPr>
          <p:cNvPr id="6" name="Textfeld 5">
            <a:extLst>
              <a:ext uri="{FF2B5EF4-FFF2-40B4-BE49-F238E27FC236}">
                <a16:creationId xmlns:a16="http://schemas.microsoft.com/office/drawing/2014/main" id="{DF6A6232-6725-4611-B098-F6E0FB55EA97}"/>
              </a:ext>
            </a:extLst>
          </p:cNvPr>
          <p:cNvSpPr txBox="1"/>
          <p:nvPr/>
        </p:nvSpPr>
        <p:spPr>
          <a:xfrm>
            <a:off x="488947" y="1412875"/>
            <a:ext cx="5807944" cy="3964803"/>
          </a:xfrm>
          <a:prstGeom prst="rect">
            <a:avLst/>
          </a:prstGeom>
        </p:spPr>
        <p:txBody>
          <a:bodyPr vert="horz" wrap="square" lIns="0" tIns="0" rIns="0" bIns="0" rtlCol="0">
            <a:spAutoFit/>
          </a:bodyPr>
          <a:lstStyle/>
          <a:p>
            <a:pPr algn="l" defTabSz="914400" eaLnBrk="1" latinLnBrk="0" hangingPunct="1">
              <a:lnSpc>
                <a:spcPct val="93000"/>
              </a:lnSpc>
              <a:spcAft>
                <a:spcPts val="1200"/>
              </a:spcAft>
              <a:buClr>
                <a:schemeClr val="tx2"/>
              </a:buClr>
            </a:pPr>
            <a:r>
              <a:rPr lang="de-DE" sz="1800" kern="1200" noProof="1">
                <a:latin typeface="+mn-lt"/>
                <a:ea typeface="+mn-ea"/>
                <a:cs typeface="+mn-cs"/>
              </a:rPr>
              <a:t>Lorem ipsum dolor sit amet, consectetuer adipiscing elit. Maecenas porttitor congue massa. </a:t>
            </a:r>
          </a:p>
          <a:p>
            <a:pPr algn="l" defTabSz="914400" eaLnBrk="1" latinLnBrk="0" hangingPunct="1">
              <a:lnSpc>
                <a:spcPct val="93000"/>
              </a:lnSpc>
              <a:spcAft>
                <a:spcPts val="1200"/>
              </a:spcAft>
              <a:buClr>
                <a:schemeClr val="tx2"/>
              </a:buClr>
            </a:pPr>
            <a:r>
              <a:rPr lang="de-DE" sz="1800" kern="1200" noProof="1">
                <a:latin typeface="+mn-lt"/>
                <a:ea typeface="+mn-ea"/>
                <a:cs typeface="+mn-cs"/>
              </a:rPr>
              <a:t>Maecenas porttitor congue massa. Fusce posuere, magna sed pulvinar ultricies, purus lectus malesuada libero, sit amet commodo magna eros quis urna.</a:t>
            </a:r>
          </a:p>
          <a:p>
            <a:pPr algn="l" defTabSz="914400" eaLnBrk="1" latinLnBrk="0" hangingPunct="1">
              <a:lnSpc>
                <a:spcPct val="93000"/>
              </a:lnSpc>
              <a:spcAft>
                <a:spcPts val="1200"/>
              </a:spcAft>
              <a:buClr>
                <a:schemeClr val="tx2"/>
              </a:buClr>
            </a:pPr>
            <a:r>
              <a:rPr lang="de-DE" sz="1800" kern="1200" noProof="1">
                <a:latin typeface="+mn-lt"/>
                <a:ea typeface="+mn-ea"/>
                <a:cs typeface="+mn-cs"/>
              </a:rPr>
              <a:t>Lorem ipsum dolor sit amet, consectetuer adipiscing elit. Maecenas porttitor congue massa. Fusce posuere, magna sed pulvinar ultricies, purus lectus malesuada libero, sit amet commodo magna eros quis urna.</a:t>
            </a:r>
          </a:p>
          <a:p>
            <a:pPr algn="l" defTabSz="914400" eaLnBrk="1" latinLnBrk="0" hangingPunct="1">
              <a:lnSpc>
                <a:spcPct val="93000"/>
              </a:lnSpc>
              <a:spcAft>
                <a:spcPts val="1200"/>
              </a:spcAft>
              <a:buClr>
                <a:schemeClr val="tx2"/>
              </a:buClr>
            </a:pPr>
            <a:r>
              <a:rPr lang="de-DE" sz="1800" kern="1200" noProof="1">
                <a:latin typeface="+mn-lt"/>
                <a:ea typeface="+mn-ea"/>
                <a:cs typeface="+mn-cs"/>
              </a:rPr>
              <a:t>Nunc viverra imperdiet enim. Fusce est. Vivamus a tellus.</a:t>
            </a:r>
          </a:p>
          <a:p>
            <a:pPr algn="l" defTabSz="914400" eaLnBrk="1" latinLnBrk="0" hangingPunct="1">
              <a:lnSpc>
                <a:spcPct val="93000"/>
              </a:lnSpc>
              <a:spcAft>
                <a:spcPts val="1200"/>
              </a:spcAft>
              <a:buClr>
                <a:schemeClr val="tx2"/>
              </a:buClr>
            </a:pPr>
            <a:r>
              <a:rPr lang="de-DE" sz="1800" kern="1200" noProof="1">
                <a:latin typeface="+mn-lt"/>
                <a:ea typeface="+mn-ea"/>
                <a:cs typeface="+mn-cs"/>
              </a:rPr>
              <a:t>Pellentesque habitant morbi tristique senectus et netus et malesuada fames ac turpis egestas. Proin pharetra nonummy pede. Mauris et orci.</a:t>
            </a:r>
          </a:p>
        </p:txBody>
      </p:sp>
    </p:spTree>
    <p:extLst>
      <p:ext uri="{BB962C8B-B14F-4D97-AF65-F5344CB8AC3E}">
        <p14:creationId xmlns:p14="http://schemas.microsoft.com/office/powerpoint/2010/main" val="25423780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C78C665-BFBA-4954-85EB-D32374F3E131}"/>
              </a:ext>
            </a:extLst>
          </p:cNvPr>
          <p:cNvGraphicFramePr>
            <a:graphicFrameLocks noChangeAspect="1"/>
          </p:cNvGraphicFramePr>
          <p:nvPr>
            <p:custDataLst>
              <p:tags r:id="rId1"/>
            </p:custDataLst>
            <p:extLst>
              <p:ext uri="{D42A27DB-BD31-4B8C-83A1-F6EECF244321}">
                <p14:modId xmlns:p14="http://schemas.microsoft.com/office/powerpoint/2010/main" val="685090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1" name="Objekt 10" hidden="1">
                        <a:extLst>
                          <a:ext uri="{FF2B5EF4-FFF2-40B4-BE49-F238E27FC236}">
                            <a16:creationId xmlns:a16="http://schemas.microsoft.com/office/drawing/2014/main" id="{1C78C665-BFBA-4954-85EB-D32374F3E1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Bildplatzhalter 8">
            <a:extLst>
              <a:ext uri="{FF2B5EF4-FFF2-40B4-BE49-F238E27FC236}">
                <a16:creationId xmlns:a16="http://schemas.microsoft.com/office/drawing/2014/main" id="{1D2739A2-B124-477F-9C9C-B603E730601A}"/>
              </a:ext>
            </a:extLst>
          </p:cNvPr>
          <p:cNvPicPr>
            <a:picLocks noGrp="1" noChangeAspect="1"/>
          </p:cNvPicPr>
          <p:nvPr>
            <p:ph type="pic" sz="quarter" idx="10"/>
          </p:nvPr>
        </p:nvPicPr>
        <p:blipFill rotWithShape="1">
          <a:blip r:embed="rId5" cstate="print">
            <a:extLst>
              <a:ext uri="{28A0092B-C50C-407E-A947-70E740481C1C}">
                <a14:useLocalDpi xmlns:a14="http://schemas.microsoft.com/office/drawing/2010/main" val="0"/>
              </a:ext>
            </a:extLst>
          </a:blip>
          <a:srcRect/>
          <a:stretch/>
        </p:blipFill>
        <p:spPr>
          <a:xfrm>
            <a:off x="0" y="0"/>
            <a:ext cx="12192000" cy="6570482"/>
          </a:xfrm>
        </p:spPr>
      </p:pic>
      <p:sp>
        <p:nvSpPr>
          <p:cNvPr id="3" name="Titel 2">
            <a:extLst>
              <a:ext uri="{FF2B5EF4-FFF2-40B4-BE49-F238E27FC236}">
                <a16:creationId xmlns:a16="http://schemas.microsoft.com/office/drawing/2014/main" id="{7D4C2AE0-1641-44DE-AACB-C6806AE2CB8E}"/>
              </a:ext>
            </a:extLst>
          </p:cNvPr>
          <p:cNvSpPr>
            <a:spLocks noGrp="1"/>
          </p:cNvSpPr>
          <p:nvPr>
            <p:ph type="title"/>
          </p:nvPr>
        </p:nvSpPr>
        <p:spPr>
          <a:xfrm>
            <a:off x="0" y="579212"/>
            <a:ext cx="12202578" cy="833663"/>
          </a:xfrm>
        </p:spPr>
        <p:txBody>
          <a:bodyPr vert="horz"/>
          <a:lstStyle/>
          <a:p>
            <a:r>
              <a:rPr lang="en-GB" dirty="0"/>
              <a:t>Lorem ipsum </a:t>
            </a:r>
            <a:r>
              <a:rPr lang="en-GB" dirty="0" err="1"/>
              <a:t>dolor</a:t>
            </a:r>
            <a:r>
              <a:rPr lang="en-GB" dirty="0"/>
              <a:t> sit </a:t>
            </a:r>
            <a:r>
              <a:rPr lang="en-GB" dirty="0" err="1"/>
              <a:t>amet</a:t>
            </a:r>
            <a:r>
              <a:rPr lang="en-GB" dirty="0"/>
              <a:t>.</a:t>
            </a:r>
          </a:p>
        </p:txBody>
      </p:sp>
    </p:spTree>
    <p:extLst>
      <p:ext uri="{BB962C8B-B14F-4D97-AF65-F5344CB8AC3E}">
        <p14:creationId xmlns:p14="http://schemas.microsoft.com/office/powerpoint/2010/main" val="7882585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a:extLst>
              <a:ext uri="{FF2B5EF4-FFF2-40B4-BE49-F238E27FC236}">
                <a16:creationId xmlns:a16="http://schemas.microsoft.com/office/drawing/2014/main" id="{3180E7D9-EA07-467B-813E-D0BC0CE1E6C8}"/>
              </a:ext>
            </a:extLst>
          </p:cNvPr>
          <p:cNvGraphicFramePr>
            <a:graphicFrameLocks noChangeAspect="1"/>
          </p:cNvGraphicFramePr>
          <p:nvPr>
            <p:custDataLst>
              <p:tags r:id="rId2"/>
            </p:custDataLst>
            <p:extLst>
              <p:ext uri="{D42A27DB-BD31-4B8C-83A1-F6EECF244321}">
                <p14:modId xmlns:p14="http://schemas.microsoft.com/office/powerpoint/2010/main" val="2322481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59" imgH="360" progId="TCLayout.ActiveDocument.1">
                  <p:embed/>
                </p:oleObj>
              </mc:Choice>
              <mc:Fallback>
                <p:oleObj name="think-cell Folie" r:id="rId7" imgW="359" imgH="360" progId="TCLayout.ActiveDocument.1">
                  <p:embed/>
                  <p:pic>
                    <p:nvPicPr>
                      <p:cNvPr id="2" name="Objekt 1" hidden="1">
                        <a:extLst>
                          <a:ext uri="{FF2B5EF4-FFF2-40B4-BE49-F238E27FC236}">
                            <a16:creationId xmlns:a16="http://schemas.microsoft.com/office/drawing/2014/main" id="{3180E7D9-EA07-467B-813E-D0BC0CE1E6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09AC0DF-DC33-4E7A-A821-CF915E48B9F0}"/>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3" name="Title 2"/>
          <p:cNvSpPr>
            <a:spLocks noGrp="1"/>
          </p:cNvSpPr>
          <p:nvPr>
            <p:ph type="title"/>
          </p:nvPr>
        </p:nvSpPr>
        <p:spPr>
          <a:xfrm>
            <a:off x="488947" y="347184"/>
            <a:ext cx="11224684" cy="372090"/>
          </a:xfrm>
        </p:spPr>
        <p:txBody>
          <a:bodyPr/>
          <a:lstStyle/>
          <a:p>
            <a:r>
              <a:rPr lang="en-GB" dirty="0"/>
              <a:t>Stacked Areas.</a:t>
            </a:r>
          </a:p>
        </p:txBody>
      </p:sp>
      <p:graphicFrame>
        <p:nvGraphicFramePr>
          <p:cNvPr id="7" name="Chart 9"/>
          <p:cNvGraphicFramePr>
            <a:graphicFrameLocks/>
          </p:cNvGraphicFramePr>
          <p:nvPr>
            <p:custDataLst>
              <p:tags r:id="rId4"/>
            </p:custDataLst>
            <p:extLst>
              <p:ext uri="{D42A27DB-BD31-4B8C-83A1-F6EECF244321}">
                <p14:modId xmlns:p14="http://schemas.microsoft.com/office/powerpoint/2010/main" val="1474006956"/>
              </p:ext>
            </p:extLst>
          </p:nvPr>
        </p:nvGraphicFramePr>
        <p:xfrm>
          <a:off x="488947" y="1413934"/>
          <a:ext cx="11224684" cy="4707467"/>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1"/>
    </p:custDataLst>
    <p:extLst>
      <p:ext uri="{BB962C8B-B14F-4D97-AF65-F5344CB8AC3E}">
        <p14:creationId xmlns:p14="http://schemas.microsoft.com/office/powerpoint/2010/main" val="1625935287"/>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CF9E5-4422-058D-2EBD-A8B0C55E12A4}"/>
              </a:ext>
            </a:extLst>
          </p:cNvPr>
          <p:cNvSpPr>
            <a:spLocks noGrp="1"/>
          </p:cNvSpPr>
          <p:nvPr>
            <p:ph type="title"/>
          </p:nvPr>
        </p:nvSpPr>
        <p:spPr/>
        <p:txBody>
          <a:bodyPr/>
          <a:lstStyle/>
          <a:p>
            <a:r>
              <a:rPr lang="en-GB" dirty="0"/>
              <a:t>ABOUT PROJECT</a:t>
            </a:r>
          </a:p>
        </p:txBody>
      </p:sp>
      <p:grpSp>
        <p:nvGrpSpPr>
          <p:cNvPr id="3" name="Group 2">
            <a:extLst>
              <a:ext uri="{FF2B5EF4-FFF2-40B4-BE49-F238E27FC236}">
                <a16:creationId xmlns:a16="http://schemas.microsoft.com/office/drawing/2014/main" id="{FD7CF6F0-979F-B6E5-1A1F-F61BCB430389}"/>
              </a:ext>
            </a:extLst>
          </p:cNvPr>
          <p:cNvGrpSpPr/>
          <p:nvPr/>
        </p:nvGrpSpPr>
        <p:grpSpPr>
          <a:xfrm>
            <a:off x="8485162" y="214431"/>
            <a:ext cx="3370288" cy="532863"/>
            <a:chOff x="8351812" y="347184"/>
            <a:chExt cx="3370288" cy="532863"/>
          </a:xfrm>
        </p:grpSpPr>
        <p:pic>
          <p:nvPicPr>
            <p:cNvPr id="4" name="Graphic 3">
              <a:extLst>
                <a:ext uri="{FF2B5EF4-FFF2-40B4-BE49-F238E27FC236}">
                  <a16:creationId xmlns:a16="http://schemas.microsoft.com/office/drawing/2014/main" id="{8B127FA4-9E55-FCE1-E024-C390EF0014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8799" y="453580"/>
              <a:ext cx="2273301" cy="426087"/>
            </a:xfrm>
            <a:prstGeom prst="rect">
              <a:avLst/>
            </a:prstGeom>
          </p:spPr>
        </p:pic>
        <p:pic>
          <p:nvPicPr>
            <p:cNvPr id="5" name="Graphic 4">
              <a:extLst>
                <a:ext uri="{FF2B5EF4-FFF2-40B4-BE49-F238E27FC236}">
                  <a16:creationId xmlns:a16="http://schemas.microsoft.com/office/drawing/2014/main" id="{5B256DF3-536E-0271-8540-5A6A657C45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51812" y="347184"/>
              <a:ext cx="1021843" cy="532863"/>
            </a:xfrm>
            <a:prstGeom prst="rect">
              <a:avLst/>
            </a:prstGeom>
          </p:spPr>
        </p:pic>
      </p:grpSp>
      <p:sp>
        <p:nvSpPr>
          <p:cNvPr id="6" name="Rectangle 5">
            <a:extLst>
              <a:ext uri="{FF2B5EF4-FFF2-40B4-BE49-F238E27FC236}">
                <a16:creationId xmlns:a16="http://schemas.microsoft.com/office/drawing/2014/main" id="{638FE807-B058-1F6B-6C4C-184BC325C45C}"/>
              </a:ext>
            </a:extLst>
          </p:cNvPr>
          <p:cNvSpPr/>
          <p:nvPr/>
        </p:nvSpPr>
        <p:spPr>
          <a:xfrm>
            <a:off x="0" y="1114425"/>
            <a:ext cx="12192000" cy="5488466"/>
          </a:xfrm>
          <a:prstGeom prst="rect">
            <a:avLst/>
          </a:prstGeom>
          <a:solidFill>
            <a:srgbClr val="DFE5EC">
              <a:alpha val="49804"/>
            </a:srgbClr>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285750" indent="-285750" algn="l">
              <a:lnSpc>
                <a:spcPct val="200000"/>
              </a:lnSpc>
              <a:buFont typeface="Wingdings" panose="05000000000000000000" pitchFamily="2" charset="2"/>
              <a:buChar char="q"/>
            </a:pPr>
            <a:r>
              <a:rPr lang="en-US" dirty="0">
                <a:solidFill>
                  <a:schemeClr val="tx1"/>
                </a:solidFill>
              </a:rPr>
              <a:t>This project aims to build a centralized system for tracking the lifecycle of quality documents across multiple countries, ensuring structured monitoring of key stages like Technical Reading, Implementation, and Effectiveness Check.</a:t>
            </a:r>
          </a:p>
          <a:p>
            <a:pPr marL="285750" indent="-285750" algn="l">
              <a:lnSpc>
                <a:spcPct val="200000"/>
              </a:lnSpc>
              <a:buFont typeface="Wingdings" panose="05000000000000000000" pitchFamily="2" charset="2"/>
              <a:buChar char="q"/>
            </a:pPr>
            <a:r>
              <a:rPr lang="en-US" dirty="0">
                <a:solidFill>
                  <a:schemeClr val="tx1"/>
                </a:solidFill>
              </a:rPr>
              <a:t> The system streamlines compliance tracking by organizing country-specific data into a unified structure, enabling consistent reporting and analysis.</a:t>
            </a:r>
          </a:p>
          <a:p>
            <a:pPr marL="285750" indent="-285750" algn="l">
              <a:lnSpc>
                <a:spcPct val="200000"/>
              </a:lnSpc>
              <a:buFont typeface="Wingdings" panose="05000000000000000000" pitchFamily="2" charset="2"/>
              <a:buChar char="q"/>
            </a:pPr>
            <a:r>
              <a:rPr lang="en-US" dirty="0">
                <a:solidFill>
                  <a:schemeClr val="tx1"/>
                </a:solidFill>
              </a:rPr>
              <a:t> Predictive logic is applied to assess delay risks and evaluate the effectiveness of document actions, helping improve decision-making and proactive monitoring.</a:t>
            </a:r>
          </a:p>
          <a:p>
            <a:pPr marL="285750" indent="-285750" algn="l">
              <a:lnSpc>
                <a:spcPct val="200000"/>
              </a:lnSpc>
              <a:buFont typeface="Wingdings" panose="05000000000000000000" pitchFamily="2" charset="2"/>
              <a:buChar char="q"/>
            </a:pPr>
            <a:r>
              <a:rPr lang="en-US" dirty="0">
                <a:solidFill>
                  <a:schemeClr val="tx1"/>
                </a:solidFill>
              </a:rPr>
              <a:t> Interactive dashboards are designed to visualize document status, highlight pending actions, and maintain traceability through built-in audit tracking.</a:t>
            </a:r>
            <a:endParaRPr lang="en-GB" dirty="0">
              <a:solidFill>
                <a:schemeClr val="tx1"/>
              </a:solidFill>
            </a:endParaRPr>
          </a:p>
        </p:txBody>
      </p:sp>
    </p:spTree>
    <p:extLst>
      <p:ext uri="{BB962C8B-B14F-4D97-AF65-F5344CB8AC3E}">
        <p14:creationId xmlns:p14="http://schemas.microsoft.com/office/powerpoint/2010/main" val="11918023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180E7D9-EA07-467B-813E-D0BC0CE1E6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59" imgH="360" progId="TCLayout.ActiveDocument.1">
                  <p:embed/>
                </p:oleObj>
              </mc:Choice>
              <mc:Fallback>
                <p:oleObj name="think-cell Folie" r:id="rId7" imgW="359" imgH="360" progId="TCLayout.ActiveDocument.1">
                  <p:embed/>
                  <p:pic>
                    <p:nvPicPr>
                      <p:cNvPr id="2" name="Objekt 1" hidden="1">
                        <a:extLst>
                          <a:ext uri="{FF2B5EF4-FFF2-40B4-BE49-F238E27FC236}">
                            <a16:creationId xmlns:a16="http://schemas.microsoft.com/office/drawing/2014/main" id="{3180E7D9-EA07-467B-813E-D0BC0CE1E6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09AC0DF-DC33-4E7A-A821-CF915E48B9F0}"/>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3" name="Title 2"/>
          <p:cNvSpPr>
            <a:spLocks noGrp="1"/>
          </p:cNvSpPr>
          <p:nvPr>
            <p:ph type="title"/>
          </p:nvPr>
        </p:nvSpPr>
        <p:spPr>
          <a:xfrm>
            <a:off x="488947" y="347184"/>
            <a:ext cx="11224684" cy="372090"/>
          </a:xfrm>
        </p:spPr>
        <p:txBody>
          <a:bodyPr/>
          <a:lstStyle/>
          <a:p>
            <a:r>
              <a:rPr lang="en-GB" dirty="0"/>
              <a:t>Stacked Areas.</a:t>
            </a:r>
          </a:p>
        </p:txBody>
      </p:sp>
      <p:graphicFrame>
        <p:nvGraphicFramePr>
          <p:cNvPr id="7" name="Chart 9"/>
          <p:cNvGraphicFramePr>
            <a:graphicFrameLocks/>
          </p:cNvGraphicFramePr>
          <p:nvPr>
            <p:custDataLst>
              <p:tags r:id="rId4"/>
            </p:custDataLst>
          </p:nvPr>
        </p:nvGraphicFramePr>
        <p:xfrm>
          <a:off x="488947" y="1413934"/>
          <a:ext cx="11224684" cy="4707467"/>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1"/>
    </p:custDataLst>
    <p:extLst>
      <p:ext uri="{BB962C8B-B14F-4D97-AF65-F5344CB8AC3E}">
        <p14:creationId xmlns:p14="http://schemas.microsoft.com/office/powerpoint/2010/main" val="2929003850"/>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71D6AE2-D596-4962-8655-7430B086EE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3" name="Objekt 2" hidden="1">
                        <a:extLst>
                          <a:ext uri="{FF2B5EF4-FFF2-40B4-BE49-F238E27FC236}">
                            <a16:creationId xmlns:a16="http://schemas.microsoft.com/office/drawing/2014/main" id="{671D6AE2-D596-4962-8655-7430B086EE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DA75D19-CB0F-450F-A170-18F211048C2E}"/>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40963" name="_h1"/>
          <p:cNvSpPr>
            <a:spLocks noGrp="1" noChangeArrowheads="1"/>
          </p:cNvSpPr>
          <p:nvPr>
            <p:ph type="title"/>
          </p:nvPr>
        </p:nvSpPr>
        <p:spPr>
          <a:xfrm>
            <a:off x="488947" y="347184"/>
            <a:ext cx="11224684" cy="372090"/>
          </a:xfrm>
        </p:spPr>
        <p:txBody>
          <a:bodyPr/>
          <a:lstStyle/>
          <a:p>
            <a:r>
              <a:rPr lang="en-GB" altLang="de-DE" noProof="1"/>
              <a:t>Looping Circle Charts.</a:t>
            </a:r>
            <a:br>
              <a:rPr lang="en-GB" altLang="de-DE" noProof="1"/>
            </a:br>
            <a:r>
              <a:rPr lang="en-GB" altLang="de-DE" noProof="1"/>
              <a:t>2 Segments.</a:t>
            </a:r>
            <a:endParaRPr lang="en-GB" noProof="1"/>
          </a:p>
        </p:txBody>
      </p:sp>
      <p:grpSp>
        <p:nvGrpSpPr>
          <p:cNvPr id="28" name="Gruppieren 27"/>
          <p:cNvGrpSpPr/>
          <p:nvPr/>
        </p:nvGrpSpPr>
        <p:grpSpPr>
          <a:xfrm>
            <a:off x="2746150" y="1928527"/>
            <a:ext cx="6714000" cy="3508955"/>
            <a:chOff x="1365250" y="2454275"/>
            <a:chExt cx="6413500" cy="3348038"/>
          </a:xfrm>
          <a:effectLst/>
        </p:grpSpPr>
        <p:sp>
          <p:nvSpPr>
            <p:cNvPr id="48" name="Freeform 22"/>
            <p:cNvSpPr>
              <a:spLocks/>
            </p:cNvSpPr>
            <p:nvPr/>
          </p:nvSpPr>
          <p:spPr bwMode="auto">
            <a:xfrm>
              <a:off x="3732213" y="2671763"/>
              <a:ext cx="1668463" cy="2905125"/>
            </a:xfrm>
            <a:custGeom>
              <a:avLst/>
              <a:gdLst>
                <a:gd name="T0" fmla="*/ 263 w 445"/>
                <a:gd name="T1" fmla="*/ 388 h 775"/>
                <a:gd name="T2" fmla="*/ 224 w 445"/>
                <a:gd name="T3" fmla="*/ 206 h 775"/>
                <a:gd name="T4" fmla="*/ 40 w 445"/>
                <a:gd name="T5" fmla="*/ 2 h 775"/>
                <a:gd name="T6" fmla="*/ 37 w 445"/>
                <a:gd name="T7" fmla="*/ 0 h 775"/>
                <a:gd name="T8" fmla="*/ 4 w 445"/>
                <a:gd name="T9" fmla="*/ 24 h 775"/>
                <a:gd name="T10" fmla="*/ 0 w 445"/>
                <a:gd name="T11" fmla="*/ 68 h 775"/>
                <a:gd name="T12" fmla="*/ 1 w 445"/>
                <a:gd name="T13" fmla="*/ 69 h 775"/>
                <a:gd name="T14" fmla="*/ 185 w 445"/>
                <a:gd name="T15" fmla="*/ 388 h 775"/>
                <a:gd name="T16" fmla="*/ 224 w 445"/>
                <a:gd name="T17" fmla="*/ 571 h 775"/>
                <a:gd name="T18" fmla="*/ 407 w 445"/>
                <a:gd name="T19" fmla="*/ 775 h 775"/>
                <a:gd name="T20" fmla="*/ 411 w 445"/>
                <a:gd name="T21" fmla="*/ 730 h 775"/>
                <a:gd name="T22" fmla="*/ 445 w 445"/>
                <a:gd name="T23" fmla="*/ 706 h 775"/>
                <a:gd name="T24" fmla="*/ 263 w 445"/>
                <a:gd name="T25" fmla="*/ 388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775">
                  <a:moveTo>
                    <a:pt x="263" y="388"/>
                  </a:moveTo>
                  <a:cubicBezTo>
                    <a:pt x="263" y="323"/>
                    <a:pt x="249" y="261"/>
                    <a:pt x="224" y="206"/>
                  </a:cubicBezTo>
                  <a:cubicBezTo>
                    <a:pt x="185" y="120"/>
                    <a:pt x="121" y="48"/>
                    <a:pt x="40" y="2"/>
                  </a:cubicBezTo>
                  <a:cubicBezTo>
                    <a:pt x="39" y="1"/>
                    <a:pt x="38" y="1"/>
                    <a:pt x="37" y="0"/>
                  </a:cubicBezTo>
                  <a:cubicBezTo>
                    <a:pt x="4" y="24"/>
                    <a:pt x="4" y="24"/>
                    <a:pt x="4" y="24"/>
                  </a:cubicBezTo>
                  <a:cubicBezTo>
                    <a:pt x="0" y="68"/>
                    <a:pt x="0" y="68"/>
                    <a:pt x="0" y="68"/>
                  </a:cubicBezTo>
                  <a:cubicBezTo>
                    <a:pt x="0" y="69"/>
                    <a:pt x="1" y="69"/>
                    <a:pt x="1" y="69"/>
                  </a:cubicBezTo>
                  <a:cubicBezTo>
                    <a:pt x="111" y="133"/>
                    <a:pt x="185" y="252"/>
                    <a:pt x="185" y="388"/>
                  </a:cubicBezTo>
                  <a:cubicBezTo>
                    <a:pt x="185" y="454"/>
                    <a:pt x="199" y="516"/>
                    <a:pt x="224" y="571"/>
                  </a:cubicBezTo>
                  <a:cubicBezTo>
                    <a:pt x="262" y="657"/>
                    <a:pt x="326" y="728"/>
                    <a:pt x="407" y="775"/>
                  </a:cubicBezTo>
                  <a:cubicBezTo>
                    <a:pt x="411" y="730"/>
                    <a:pt x="411" y="730"/>
                    <a:pt x="411" y="730"/>
                  </a:cubicBezTo>
                  <a:cubicBezTo>
                    <a:pt x="445" y="706"/>
                    <a:pt x="445" y="706"/>
                    <a:pt x="445" y="706"/>
                  </a:cubicBezTo>
                  <a:cubicBezTo>
                    <a:pt x="336" y="642"/>
                    <a:pt x="263" y="524"/>
                    <a:pt x="263" y="388"/>
                  </a:cubicBezTo>
                  <a:close/>
                </a:path>
              </a:pathLst>
            </a:custGeom>
            <a:gradFill>
              <a:gsLst>
                <a:gs pos="73000">
                  <a:schemeClr val="accent1"/>
                </a:gs>
                <a:gs pos="45000">
                  <a:schemeClr val="accent1">
                    <a:lumMod val="75000"/>
                  </a:schemeClr>
                </a:gs>
                <a:gs pos="100000">
                  <a:schemeClr val="accent1">
                    <a:lumMod val="75000"/>
                  </a:schemeClr>
                </a:gs>
              </a:gsLst>
              <a:lin ang="13500000" scaled="1"/>
            </a:gra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49" name="Freeform 23"/>
            <p:cNvSpPr>
              <a:spLocks/>
            </p:cNvSpPr>
            <p:nvPr/>
          </p:nvSpPr>
          <p:spPr bwMode="auto">
            <a:xfrm>
              <a:off x="1365250" y="4133850"/>
              <a:ext cx="2520950" cy="1668463"/>
            </a:xfrm>
            <a:custGeom>
              <a:avLst/>
              <a:gdLst>
                <a:gd name="T0" fmla="*/ 668 w 672"/>
                <a:gd name="T1" fmla="*/ 341 h 445"/>
                <a:gd name="T2" fmla="*/ 633 w 672"/>
                <a:gd name="T3" fmla="*/ 317 h 445"/>
                <a:gd name="T4" fmla="*/ 631 w 672"/>
                <a:gd name="T5" fmla="*/ 318 h 445"/>
                <a:gd name="T6" fmla="*/ 447 w 672"/>
                <a:gd name="T7" fmla="*/ 367 h 445"/>
                <a:gd name="T8" fmla="*/ 78 w 672"/>
                <a:gd name="T9" fmla="*/ 0 h 445"/>
                <a:gd name="T10" fmla="*/ 40 w 672"/>
                <a:gd name="T11" fmla="*/ 18 h 445"/>
                <a:gd name="T12" fmla="*/ 0 w 672"/>
                <a:gd name="T13" fmla="*/ 0 h 445"/>
                <a:gd name="T14" fmla="*/ 447 w 672"/>
                <a:gd name="T15" fmla="*/ 445 h 445"/>
                <a:gd name="T16" fmla="*/ 669 w 672"/>
                <a:gd name="T17" fmla="*/ 386 h 445"/>
                <a:gd name="T18" fmla="*/ 672 w 672"/>
                <a:gd name="T19" fmla="*/ 385 h 445"/>
                <a:gd name="T20" fmla="*/ 668 w 672"/>
                <a:gd name="T21" fmla="*/ 34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2" h="445">
                  <a:moveTo>
                    <a:pt x="668" y="341"/>
                  </a:moveTo>
                  <a:cubicBezTo>
                    <a:pt x="633" y="317"/>
                    <a:pt x="633" y="317"/>
                    <a:pt x="633" y="317"/>
                  </a:cubicBezTo>
                  <a:cubicBezTo>
                    <a:pt x="633" y="317"/>
                    <a:pt x="632" y="318"/>
                    <a:pt x="631" y="318"/>
                  </a:cubicBezTo>
                  <a:cubicBezTo>
                    <a:pt x="577" y="350"/>
                    <a:pt x="514" y="367"/>
                    <a:pt x="447" y="367"/>
                  </a:cubicBezTo>
                  <a:cubicBezTo>
                    <a:pt x="244" y="367"/>
                    <a:pt x="79" y="203"/>
                    <a:pt x="78" y="0"/>
                  </a:cubicBezTo>
                  <a:cubicBezTo>
                    <a:pt x="40" y="18"/>
                    <a:pt x="40" y="18"/>
                    <a:pt x="40" y="18"/>
                  </a:cubicBezTo>
                  <a:cubicBezTo>
                    <a:pt x="0" y="0"/>
                    <a:pt x="0" y="0"/>
                    <a:pt x="0" y="0"/>
                  </a:cubicBezTo>
                  <a:cubicBezTo>
                    <a:pt x="1" y="246"/>
                    <a:pt x="201" y="445"/>
                    <a:pt x="447" y="445"/>
                  </a:cubicBezTo>
                  <a:cubicBezTo>
                    <a:pt x="528" y="445"/>
                    <a:pt x="604" y="424"/>
                    <a:pt x="669" y="386"/>
                  </a:cubicBezTo>
                  <a:cubicBezTo>
                    <a:pt x="670" y="386"/>
                    <a:pt x="671" y="385"/>
                    <a:pt x="672" y="385"/>
                  </a:cubicBezTo>
                  <a:lnTo>
                    <a:pt x="668" y="341"/>
                  </a:lnTo>
                  <a:close/>
                </a:path>
              </a:pathLst>
            </a:custGeom>
            <a:gradFill>
              <a:gsLst>
                <a:gs pos="73000">
                  <a:schemeClr val="accent1"/>
                </a:gs>
                <a:gs pos="45000">
                  <a:schemeClr val="accent1">
                    <a:lumMod val="75000"/>
                  </a:schemeClr>
                </a:gs>
                <a:gs pos="100000">
                  <a:schemeClr val="accent1">
                    <a:lumMod val="75000"/>
                  </a:schemeClr>
                </a:gs>
              </a:gsLst>
              <a:lin ang="13500000" scaled="1"/>
            </a:gra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50" name="Freeform 24"/>
            <p:cNvSpPr>
              <a:spLocks/>
            </p:cNvSpPr>
            <p:nvPr/>
          </p:nvSpPr>
          <p:spPr bwMode="auto">
            <a:xfrm>
              <a:off x="1365250" y="2454275"/>
              <a:ext cx="2505075" cy="1746250"/>
            </a:xfrm>
            <a:custGeom>
              <a:avLst/>
              <a:gdLst>
                <a:gd name="T0" fmla="*/ 447 w 668"/>
                <a:gd name="T1" fmla="*/ 0 h 466"/>
                <a:gd name="T2" fmla="*/ 0 w 668"/>
                <a:gd name="T3" fmla="*/ 445 h 466"/>
                <a:gd name="T4" fmla="*/ 0 w 668"/>
                <a:gd name="T5" fmla="*/ 446 h 466"/>
                <a:gd name="T6" fmla="*/ 0 w 668"/>
                <a:gd name="T7" fmla="*/ 448 h 466"/>
                <a:gd name="T8" fmla="*/ 40 w 668"/>
                <a:gd name="T9" fmla="*/ 466 h 466"/>
                <a:gd name="T10" fmla="*/ 78 w 668"/>
                <a:gd name="T11" fmla="*/ 448 h 466"/>
                <a:gd name="T12" fmla="*/ 78 w 668"/>
                <a:gd name="T13" fmla="*/ 446 h 466"/>
                <a:gd name="T14" fmla="*/ 78 w 668"/>
                <a:gd name="T15" fmla="*/ 445 h 466"/>
                <a:gd name="T16" fmla="*/ 447 w 668"/>
                <a:gd name="T17" fmla="*/ 78 h 466"/>
                <a:gd name="T18" fmla="*/ 631 w 668"/>
                <a:gd name="T19" fmla="*/ 126 h 466"/>
                <a:gd name="T20" fmla="*/ 635 w 668"/>
                <a:gd name="T21" fmla="*/ 82 h 466"/>
                <a:gd name="T22" fmla="*/ 668 w 668"/>
                <a:gd name="T23" fmla="*/ 58 h 466"/>
                <a:gd name="T24" fmla="*/ 447 w 668"/>
                <a:gd name="T25"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8" h="466">
                  <a:moveTo>
                    <a:pt x="447" y="0"/>
                  </a:moveTo>
                  <a:cubicBezTo>
                    <a:pt x="201" y="0"/>
                    <a:pt x="1" y="199"/>
                    <a:pt x="0" y="445"/>
                  </a:cubicBezTo>
                  <a:cubicBezTo>
                    <a:pt x="0" y="446"/>
                    <a:pt x="0" y="446"/>
                    <a:pt x="0" y="446"/>
                  </a:cubicBezTo>
                  <a:cubicBezTo>
                    <a:pt x="0" y="447"/>
                    <a:pt x="0" y="447"/>
                    <a:pt x="0" y="448"/>
                  </a:cubicBezTo>
                  <a:cubicBezTo>
                    <a:pt x="40" y="466"/>
                    <a:pt x="40" y="466"/>
                    <a:pt x="40" y="466"/>
                  </a:cubicBezTo>
                  <a:cubicBezTo>
                    <a:pt x="78" y="448"/>
                    <a:pt x="78" y="448"/>
                    <a:pt x="78" y="448"/>
                  </a:cubicBezTo>
                  <a:cubicBezTo>
                    <a:pt x="78" y="447"/>
                    <a:pt x="78" y="447"/>
                    <a:pt x="78" y="446"/>
                  </a:cubicBezTo>
                  <a:cubicBezTo>
                    <a:pt x="78" y="446"/>
                    <a:pt x="78" y="446"/>
                    <a:pt x="78" y="445"/>
                  </a:cubicBezTo>
                  <a:cubicBezTo>
                    <a:pt x="79" y="242"/>
                    <a:pt x="244" y="78"/>
                    <a:pt x="447" y="78"/>
                  </a:cubicBezTo>
                  <a:cubicBezTo>
                    <a:pt x="514" y="78"/>
                    <a:pt x="576" y="95"/>
                    <a:pt x="631" y="126"/>
                  </a:cubicBezTo>
                  <a:cubicBezTo>
                    <a:pt x="635" y="82"/>
                    <a:pt x="635" y="82"/>
                    <a:pt x="635" y="82"/>
                  </a:cubicBezTo>
                  <a:cubicBezTo>
                    <a:pt x="668" y="58"/>
                    <a:pt x="668" y="58"/>
                    <a:pt x="668" y="58"/>
                  </a:cubicBezTo>
                  <a:cubicBezTo>
                    <a:pt x="603" y="21"/>
                    <a:pt x="527" y="0"/>
                    <a:pt x="447" y="0"/>
                  </a:cubicBezTo>
                  <a:close/>
                </a:path>
              </a:pathLst>
            </a:custGeom>
            <a:solidFill>
              <a:schemeClr val="accent1">
                <a:lumMod val="60000"/>
                <a:lumOff val="40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51" name="Freeform 25"/>
            <p:cNvSpPr>
              <a:spLocks/>
            </p:cNvSpPr>
            <p:nvPr/>
          </p:nvSpPr>
          <p:spPr bwMode="auto">
            <a:xfrm>
              <a:off x="3740150" y="2678113"/>
              <a:ext cx="1660525" cy="2898775"/>
            </a:xfrm>
            <a:custGeom>
              <a:avLst/>
              <a:gdLst>
                <a:gd name="T0" fmla="*/ 439 w 443"/>
                <a:gd name="T1" fmla="*/ 25 h 773"/>
                <a:gd name="T2" fmla="*/ 405 w 443"/>
                <a:gd name="T3" fmla="*/ 0 h 773"/>
                <a:gd name="T4" fmla="*/ 403 w 443"/>
                <a:gd name="T5" fmla="*/ 2 h 773"/>
                <a:gd name="T6" fmla="*/ 222 w 443"/>
                <a:gd name="T7" fmla="*/ 204 h 773"/>
                <a:gd name="T8" fmla="*/ 183 w 443"/>
                <a:gd name="T9" fmla="*/ 386 h 773"/>
                <a:gd name="T10" fmla="*/ 0 w 443"/>
                <a:gd name="T11" fmla="*/ 705 h 773"/>
                <a:gd name="T12" fmla="*/ 35 w 443"/>
                <a:gd name="T13" fmla="*/ 729 h 773"/>
                <a:gd name="T14" fmla="*/ 39 w 443"/>
                <a:gd name="T15" fmla="*/ 773 h 773"/>
                <a:gd name="T16" fmla="*/ 222 w 443"/>
                <a:gd name="T17" fmla="*/ 569 h 773"/>
                <a:gd name="T18" fmla="*/ 261 w 443"/>
                <a:gd name="T19" fmla="*/ 386 h 773"/>
                <a:gd name="T20" fmla="*/ 441 w 443"/>
                <a:gd name="T21" fmla="*/ 69 h 773"/>
                <a:gd name="T22" fmla="*/ 443 w 443"/>
                <a:gd name="T23" fmla="*/ 68 h 773"/>
                <a:gd name="T24" fmla="*/ 439 w 443"/>
                <a:gd name="T25" fmla="*/ 25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3" h="773">
                  <a:moveTo>
                    <a:pt x="439" y="25"/>
                  </a:moveTo>
                  <a:cubicBezTo>
                    <a:pt x="405" y="0"/>
                    <a:pt x="405" y="0"/>
                    <a:pt x="405" y="0"/>
                  </a:cubicBezTo>
                  <a:cubicBezTo>
                    <a:pt x="404" y="1"/>
                    <a:pt x="403" y="1"/>
                    <a:pt x="403" y="2"/>
                  </a:cubicBezTo>
                  <a:cubicBezTo>
                    <a:pt x="323" y="48"/>
                    <a:pt x="260" y="119"/>
                    <a:pt x="222" y="204"/>
                  </a:cubicBezTo>
                  <a:cubicBezTo>
                    <a:pt x="197" y="259"/>
                    <a:pt x="183" y="321"/>
                    <a:pt x="183" y="386"/>
                  </a:cubicBezTo>
                  <a:cubicBezTo>
                    <a:pt x="183" y="522"/>
                    <a:pt x="110" y="641"/>
                    <a:pt x="0" y="705"/>
                  </a:cubicBezTo>
                  <a:cubicBezTo>
                    <a:pt x="35" y="729"/>
                    <a:pt x="35" y="729"/>
                    <a:pt x="35" y="729"/>
                  </a:cubicBezTo>
                  <a:cubicBezTo>
                    <a:pt x="39" y="773"/>
                    <a:pt x="39" y="773"/>
                    <a:pt x="39" y="773"/>
                  </a:cubicBezTo>
                  <a:cubicBezTo>
                    <a:pt x="119" y="726"/>
                    <a:pt x="184" y="655"/>
                    <a:pt x="222" y="569"/>
                  </a:cubicBezTo>
                  <a:cubicBezTo>
                    <a:pt x="247" y="514"/>
                    <a:pt x="261" y="452"/>
                    <a:pt x="261" y="386"/>
                  </a:cubicBezTo>
                  <a:cubicBezTo>
                    <a:pt x="261" y="252"/>
                    <a:pt x="333" y="134"/>
                    <a:pt x="441" y="69"/>
                  </a:cubicBezTo>
                  <a:cubicBezTo>
                    <a:pt x="442" y="69"/>
                    <a:pt x="443" y="69"/>
                    <a:pt x="443" y="68"/>
                  </a:cubicBezTo>
                  <a:lnTo>
                    <a:pt x="439" y="25"/>
                  </a:lnTo>
                  <a:close/>
                </a:path>
              </a:pathLst>
            </a:custGeom>
            <a:solidFill>
              <a:schemeClr val="accent1">
                <a:lumMod val="60000"/>
                <a:lumOff val="40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52" name="Freeform 26"/>
            <p:cNvSpPr>
              <a:spLocks/>
            </p:cNvSpPr>
            <p:nvPr/>
          </p:nvSpPr>
          <p:spPr bwMode="auto">
            <a:xfrm>
              <a:off x="5257800" y="4141788"/>
              <a:ext cx="2520950" cy="1660525"/>
            </a:xfrm>
            <a:custGeom>
              <a:avLst/>
              <a:gdLst>
                <a:gd name="T0" fmla="*/ 631 w 672"/>
                <a:gd name="T1" fmla="*/ 18 h 443"/>
                <a:gd name="T2" fmla="*/ 594 w 672"/>
                <a:gd name="T3" fmla="*/ 1 h 443"/>
                <a:gd name="T4" fmla="*/ 225 w 672"/>
                <a:gd name="T5" fmla="*/ 365 h 443"/>
                <a:gd name="T6" fmla="*/ 40 w 672"/>
                <a:gd name="T7" fmla="*/ 316 h 443"/>
                <a:gd name="T8" fmla="*/ 38 w 672"/>
                <a:gd name="T9" fmla="*/ 314 h 443"/>
                <a:gd name="T10" fmla="*/ 4 w 672"/>
                <a:gd name="T11" fmla="*/ 338 h 443"/>
                <a:gd name="T12" fmla="*/ 0 w 672"/>
                <a:gd name="T13" fmla="*/ 383 h 443"/>
                <a:gd name="T14" fmla="*/ 2 w 672"/>
                <a:gd name="T15" fmla="*/ 384 h 443"/>
                <a:gd name="T16" fmla="*/ 225 w 672"/>
                <a:gd name="T17" fmla="*/ 443 h 443"/>
                <a:gd name="T18" fmla="*/ 672 w 672"/>
                <a:gd name="T19" fmla="*/ 0 h 443"/>
                <a:gd name="T20" fmla="*/ 631 w 672"/>
                <a:gd name="T21" fmla="*/ 18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2" h="443">
                  <a:moveTo>
                    <a:pt x="631" y="18"/>
                  </a:moveTo>
                  <a:cubicBezTo>
                    <a:pt x="594" y="1"/>
                    <a:pt x="594" y="1"/>
                    <a:pt x="594" y="1"/>
                  </a:cubicBezTo>
                  <a:cubicBezTo>
                    <a:pt x="592" y="203"/>
                    <a:pt x="427" y="365"/>
                    <a:pt x="225" y="365"/>
                  </a:cubicBezTo>
                  <a:cubicBezTo>
                    <a:pt x="158" y="365"/>
                    <a:pt x="94" y="347"/>
                    <a:pt x="40" y="316"/>
                  </a:cubicBezTo>
                  <a:cubicBezTo>
                    <a:pt x="39" y="315"/>
                    <a:pt x="39" y="315"/>
                    <a:pt x="38" y="314"/>
                  </a:cubicBezTo>
                  <a:cubicBezTo>
                    <a:pt x="4" y="338"/>
                    <a:pt x="4" y="338"/>
                    <a:pt x="4" y="338"/>
                  </a:cubicBezTo>
                  <a:cubicBezTo>
                    <a:pt x="0" y="383"/>
                    <a:pt x="0" y="383"/>
                    <a:pt x="0" y="383"/>
                  </a:cubicBezTo>
                  <a:cubicBezTo>
                    <a:pt x="0" y="383"/>
                    <a:pt x="1" y="383"/>
                    <a:pt x="2" y="384"/>
                  </a:cubicBezTo>
                  <a:cubicBezTo>
                    <a:pt x="67" y="422"/>
                    <a:pt x="144" y="443"/>
                    <a:pt x="225" y="443"/>
                  </a:cubicBezTo>
                  <a:cubicBezTo>
                    <a:pt x="471" y="443"/>
                    <a:pt x="670" y="245"/>
                    <a:pt x="672" y="0"/>
                  </a:cubicBezTo>
                  <a:lnTo>
                    <a:pt x="631" y="18"/>
                  </a:lnTo>
                  <a:close/>
                </a:path>
              </a:pathLst>
            </a:custGeom>
            <a:solidFill>
              <a:schemeClr val="accent1">
                <a:lumMod val="60000"/>
                <a:lumOff val="40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53" name="Freeform 27"/>
            <p:cNvSpPr>
              <a:spLocks/>
            </p:cNvSpPr>
            <p:nvPr/>
          </p:nvSpPr>
          <p:spPr bwMode="auto">
            <a:xfrm>
              <a:off x="5257800" y="2454275"/>
              <a:ext cx="2520950" cy="1754188"/>
            </a:xfrm>
            <a:custGeom>
              <a:avLst/>
              <a:gdLst>
                <a:gd name="T0" fmla="*/ 225 w 672"/>
                <a:gd name="T1" fmla="*/ 0 h 468"/>
                <a:gd name="T2" fmla="*/ 0 w 672"/>
                <a:gd name="T3" fmla="*/ 60 h 468"/>
                <a:gd name="T4" fmla="*/ 34 w 672"/>
                <a:gd name="T5" fmla="*/ 85 h 468"/>
                <a:gd name="T6" fmla="*/ 38 w 672"/>
                <a:gd name="T7" fmla="*/ 128 h 468"/>
                <a:gd name="T8" fmla="*/ 225 w 672"/>
                <a:gd name="T9" fmla="*/ 78 h 468"/>
                <a:gd name="T10" fmla="*/ 594 w 672"/>
                <a:gd name="T11" fmla="*/ 446 h 468"/>
                <a:gd name="T12" fmla="*/ 594 w 672"/>
                <a:gd name="T13" fmla="*/ 448 h 468"/>
                <a:gd name="T14" fmla="*/ 594 w 672"/>
                <a:gd name="T15" fmla="*/ 451 h 468"/>
                <a:gd name="T16" fmla="*/ 631 w 672"/>
                <a:gd name="T17" fmla="*/ 468 h 468"/>
                <a:gd name="T18" fmla="*/ 672 w 672"/>
                <a:gd name="T19" fmla="*/ 450 h 468"/>
                <a:gd name="T20" fmla="*/ 672 w 672"/>
                <a:gd name="T21" fmla="*/ 448 h 468"/>
                <a:gd name="T22" fmla="*/ 672 w 672"/>
                <a:gd name="T23" fmla="*/ 446 h 468"/>
                <a:gd name="T24" fmla="*/ 225 w 672"/>
                <a:gd name="T25"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2" h="468">
                  <a:moveTo>
                    <a:pt x="225" y="0"/>
                  </a:moveTo>
                  <a:cubicBezTo>
                    <a:pt x="143" y="0"/>
                    <a:pt x="66" y="22"/>
                    <a:pt x="0" y="60"/>
                  </a:cubicBezTo>
                  <a:cubicBezTo>
                    <a:pt x="34" y="85"/>
                    <a:pt x="34" y="85"/>
                    <a:pt x="34" y="85"/>
                  </a:cubicBezTo>
                  <a:cubicBezTo>
                    <a:pt x="38" y="128"/>
                    <a:pt x="38" y="128"/>
                    <a:pt x="38" y="128"/>
                  </a:cubicBezTo>
                  <a:cubicBezTo>
                    <a:pt x="93" y="96"/>
                    <a:pt x="157" y="78"/>
                    <a:pt x="225" y="78"/>
                  </a:cubicBezTo>
                  <a:cubicBezTo>
                    <a:pt x="429" y="78"/>
                    <a:pt x="594" y="243"/>
                    <a:pt x="594" y="446"/>
                  </a:cubicBezTo>
                  <a:cubicBezTo>
                    <a:pt x="594" y="447"/>
                    <a:pt x="594" y="447"/>
                    <a:pt x="594" y="448"/>
                  </a:cubicBezTo>
                  <a:cubicBezTo>
                    <a:pt x="594" y="449"/>
                    <a:pt x="594" y="450"/>
                    <a:pt x="594" y="451"/>
                  </a:cubicBezTo>
                  <a:cubicBezTo>
                    <a:pt x="631" y="468"/>
                    <a:pt x="631" y="468"/>
                    <a:pt x="631" y="468"/>
                  </a:cubicBezTo>
                  <a:cubicBezTo>
                    <a:pt x="672" y="450"/>
                    <a:pt x="672" y="450"/>
                    <a:pt x="672" y="450"/>
                  </a:cubicBezTo>
                  <a:cubicBezTo>
                    <a:pt x="672" y="449"/>
                    <a:pt x="672" y="449"/>
                    <a:pt x="672" y="448"/>
                  </a:cubicBezTo>
                  <a:cubicBezTo>
                    <a:pt x="672" y="447"/>
                    <a:pt x="672" y="447"/>
                    <a:pt x="672" y="446"/>
                  </a:cubicBezTo>
                  <a:cubicBezTo>
                    <a:pt x="672" y="200"/>
                    <a:pt x="472" y="0"/>
                    <a:pt x="225" y="0"/>
                  </a:cubicBezTo>
                  <a:close/>
                </a:path>
              </a:pathLst>
            </a:custGeom>
            <a:gradFill>
              <a:gsLst>
                <a:gs pos="73000">
                  <a:schemeClr val="accent1"/>
                </a:gs>
                <a:gs pos="45000">
                  <a:schemeClr val="accent1">
                    <a:lumMod val="75000"/>
                  </a:schemeClr>
                </a:gs>
                <a:gs pos="100000">
                  <a:schemeClr val="accent1">
                    <a:lumMod val="75000"/>
                  </a:schemeClr>
                </a:gs>
              </a:gsLst>
              <a:lin ang="13500000" scaled="1"/>
            </a:gra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grpSp>
      <p:sp>
        <p:nvSpPr>
          <p:cNvPr id="47" name="Oval 69"/>
          <p:cNvSpPr>
            <a:spLocks noChangeArrowheads="1"/>
          </p:cNvSpPr>
          <p:nvPr/>
        </p:nvSpPr>
        <p:spPr bwMode="auto">
          <a:xfrm>
            <a:off x="3442063" y="3589789"/>
            <a:ext cx="872693" cy="873701"/>
          </a:xfrm>
          <a:prstGeom prst="ellipse">
            <a:avLst/>
          </a:prstGeom>
          <a:gradFill flip="none" rotWithShape="1">
            <a:gsLst>
              <a:gs pos="0">
                <a:srgbClr val="F2F2F2"/>
              </a:gs>
              <a:gs pos="100000">
                <a:srgbClr val="CCCCCC"/>
              </a:gs>
            </a:gsLst>
            <a:path path="circle">
              <a:fillToRect l="100000" t="100000"/>
            </a:path>
            <a:tileRect r="-100000" b="-100000"/>
          </a:gradFill>
          <a:ln w="9525">
            <a:solidFill>
              <a:schemeClr val="bg1">
                <a:lumMod val="75000"/>
              </a:schemeClr>
            </a:solidFill>
            <a:round/>
            <a:headEnd/>
            <a:tailEnd/>
          </a:ln>
          <a:effectLst/>
          <a:scene3d>
            <a:camera prst="orthographicFront"/>
            <a:lightRig rig="balanced" dir="t"/>
          </a:scene3d>
          <a:sp3d>
            <a:bevelT w="0" h="0"/>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GB" altLang="de-DE" sz="4400">
                <a:effectLst>
                  <a:innerShdw blurRad="114300">
                    <a:prstClr val="black">
                      <a:alpha val="96000"/>
                    </a:prstClr>
                  </a:innerShdw>
                </a:effectLst>
                <a:cs typeface="Arial" charset="0"/>
              </a:rPr>
              <a:t>B</a:t>
            </a:r>
            <a:endParaRPr lang="en-GB" altLang="de-DE" sz="4400" dirty="0">
              <a:effectLst>
                <a:innerShdw blurRad="114300">
                  <a:prstClr val="black">
                    <a:alpha val="96000"/>
                  </a:prstClr>
                </a:innerShdw>
              </a:effectLst>
              <a:cs typeface="Arial" charset="0"/>
            </a:endParaRPr>
          </a:p>
        </p:txBody>
      </p:sp>
      <p:sp>
        <p:nvSpPr>
          <p:cNvPr id="45" name="Oval 69"/>
          <p:cNvSpPr>
            <a:spLocks noChangeArrowheads="1"/>
          </p:cNvSpPr>
          <p:nvPr/>
        </p:nvSpPr>
        <p:spPr bwMode="auto">
          <a:xfrm>
            <a:off x="4595952" y="3584946"/>
            <a:ext cx="872693" cy="873701"/>
          </a:xfrm>
          <a:prstGeom prst="ellipse">
            <a:avLst/>
          </a:prstGeom>
          <a:gradFill flip="none" rotWithShape="1">
            <a:gsLst>
              <a:gs pos="0">
                <a:srgbClr val="F2F2F2"/>
              </a:gs>
              <a:gs pos="100000">
                <a:srgbClr val="CCCCCC"/>
              </a:gs>
            </a:gsLst>
            <a:path path="circle">
              <a:fillToRect l="100000" t="100000"/>
            </a:path>
            <a:tileRect r="-100000" b="-100000"/>
          </a:gradFill>
          <a:ln w="9525">
            <a:solidFill>
              <a:schemeClr val="bg1">
                <a:lumMod val="75000"/>
              </a:schemeClr>
            </a:solidFill>
            <a:round/>
            <a:headEnd/>
            <a:tailEnd/>
          </a:ln>
          <a:effectLst/>
          <a:scene3d>
            <a:camera prst="orthographicFront"/>
            <a:lightRig rig="balanced" dir="t"/>
          </a:scene3d>
          <a:sp3d>
            <a:bevelT w="0" h="0"/>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GB" altLang="de-DE" sz="4400">
                <a:effectLst>
                  <a:innerShdw blurRad="114300">
                    <a:prstClr val="black">
                      <a:alpha val="96000"/>
                    </a:prstClr>
                  </a:innerShdw>
                </a:effectLst>
                <a:cs typeface="Arial" charset="0"/>
              </a:rPr>
              <a:t>C</a:t>
            </a:r>
            <a:endParaRPr lang="en-GB" altLang="de-DE" sz="4400" dirty="0">
              <a:effectLst>
                <a:innerShdw blurRad="114300">
                  <a:prstClr val="black">
                    <a:alpha val="96000"/>
                  </a:prstClr>
                </a:innerShdw>
              </a:effectLst>
              <a:cs typeface="Arial" charset="0"/>
            </a:endParaRPr>
          </a:p>
        </p:txBody>
      </p:sp>
      <p:sp>
        <p:nvSpPr>
          <p:cNvPr id="43" name="Oval 69"/>
          <p:cNvSpPr>
            <a:spLocks noChangeArrowheads="1"/>
          </p:cNvSpPr>
          <p:nvPr/>
        </p:nvSpPr>
        <p:spPr bwMode="auto">
          <a:xfrm>
            <a:off x="4045455" y="2640972"/>
            <a:ext cx="872693" cy="873701"/>
          </a:xfrm>
          <a:prstGeom prst="ellipse">
            <a:avLst/>
          </a:prstGeom>
          <a:gradFill flip="none" rotWithShape="1">
            <a:gsLst>
              <a:gs pos="0">
                <a:srgbClr val="F2F2F2"/>
              </a:gs>
              <a:gs pos="100000">
                <a:srgbClr val="CCCCCC"/>
              </a:gs>
            </a:gsLst>
            <a:path path="circle">
              <a:fillToRect l="100000" t="100000"/>
            </a:path>
            <a:tileRect r="-100000" b="-100000"/>
          </a:gradFill>
          <a:ln w="9525">
            <a:solidFill>
              <a:schemeClr val="bg1">
                <a:lumMod val="75000"/>
              </a:schemeClr>
            </a:solidFill>
            <a:round/>
            <a:headEnd/>
            <a:tailEnd/>
          </a:ln>
          <a:effectLst/>
          <a:scene3d>
            <a:camera prst="orthographicFront"/>
            <a:lightRig rig="balanced" dir="t"/>
          </a:scene3d>
          <a:sp3d>
            <a:bevelT w="0" h="0"/>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GB" altLang="de-DE" sz="4400">
                <a:effectLst>
                  <a:innerShdw blurRad="114300">
                    <a:prstClr val="black">
                      <a:alpha val="96000"/>
                    </a:prstClr>
                  </a:innerShdw>
                </a:effectLst>
                <a:cs typeface="Arial" charset="0"/>
              </a:rPr>
              <a:t>A</a:t>
            </a:r>
            <a:endParaRPr lang="en-GB" altLang="de-DE" sz="4400" dirty="0">
              <a:effectLst>
                <a:innerShdw blurRad="114300">
                  <a:prstClr val="black">
                    <a:alpha val="96000"/>
                  </a:prstClr>
                </a:innerShdw>
              </a:effectLst>
              <a:cs typeface="Arial" charset="0"/>
            </a:endParaRPr>
          </a:p>
        </p:txBody>
      </p:sp>
      <p:sp>
        <p:nvSpPr>
          <p:cNvPr id="41" name="Oval 69"/>
          <p:cNvSpPr>
            <a:spLocks noChangeArrowheads="1"/>
          </p:cNvSpPr>
          <p:nvPr/>
        </p:nvSpPr>
        <p:spPr bwMode="auto">
          <a:xfrm>
            <a:off x="6681038" y="3603027"/>
            <a:ext cx="872693" cy="873701"/>
          </a:xfrm>
          <a:prstGeom prst="ellipse">
            <a:avLst/>
          </a:prstGeom>
          <a:gradFill flip="none" rotWithShape="1">
            <a:gsLst>
              <a:gs pos="0">
                <a:srgbClr val="F2F2F2"/>
              </a:gs>
              <a:gs pos="100000">
                <a:srgbClr val="CCCCCC"/>
              </a:gs>
            </a:gsLst>
            <a:path path="circle">
              <a:fillToRect l="100000" t="100000"/>
            </a:path>
            <a:tileRect r="-100000" b="-100000"/>
          </a:gradFill>
          <a:ln w="9525">
            <a:solidFill>
              <a:schemeClr val="bg1">
                <a:lumMod val="75000"/>
              </a:schemeClr>
            </a:solidFill>
            <a:round/>
            <a:headEnd/>
            <a:tailEnd/>
          </a:ln>
          <a:effectLst/>
          <a:scene3d>
            <a:camera prst="orthographicFront"/>
            <a:lightRig rig="balanced" dir="t"/>
          </a:scene3d>
          <a:sp3d>
            <a:bevelT w="0" h="0"/>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GB" altLang="de-DE" sz="4400">
                <a:effectLst>
                  <a:innerShdw blurRad="114300">
                    <a:prstClr val="black">
                      <a:alpha val="96000"/>
                    </a:prstClr>
                  </a:innerShdw>
                </a:effectLst>
                <a:cs typeface="Arial" charset="0"/>
              </a:rPr>
              <a:t>E</a:t>
            </a:r>
            <a:endParaRPr lang="en-GB" altLang="de-DE" sz="4400" dirty="0">
              <a:effectLst>
                <a:innerShdw blurRad="114300">
                  <a:prstClr val="black">
                    <a:alpha val="96000"/>
                  </a:prstClr>
                </a:innerShdw>
              </a:effectLst>
              <a:cs typeface="Arial" charset="0"/>
            </a:endParaRPr>
          </a:p>
        </p:txBody>
      </p:sp>
      <p:sp>
        <p:nvSpPr>
          <p:cNvPr id="39" name="Oval 69"/>
          <p:cNvSpPr>
            <a:spLocks noChangeArrowheads="1"/>
          </p:cNvSpPr>
          <p:nvPr/>
        </p:nvSpPr>
        <p:spPr bwMode="auto">
          <a:xfrm>
            <a:off x="7834926" y="3598184"/>
            <a:ext cx="872693" cy="873701"/>
          </a:xfrm>
          <a:prstGeom prst="ellipse">
            <a:avLst/>
          </a:prstGeom>
          <a:gradFill flip="none" rotWithShape="1">
            <a:gsLst>
              <a:gs pos="0">
                <a:srgbClr val="F2F2F2"/>
              </a:gs>
              <a:gs pos="100000">
                <a:srgbClr val="CCCCCC"/>
              </a:gs>
            </a:gsLst>
            <a:path path="circle">
              <a:fillToRect l="100000" t="100000"/>
            </a:path>
            <a:tileRect r="-100000" b="-100000"/>
          </a:gradFill>
          <a:ln w="9525">
            <a:solidFill>
              <a:schemeClr val="bg1">
                <a:lumMod val="75000"/>
              </a:schemeClr>
            </a:solidFill>
            <a:round/>
            <a:headEnd/>
            <a:tailEnd/>
          </a:ln>
          <a:effectLst/>
          <a:scene3d>
            <a:camera prst="orthographicFront"/>
            <a:lightRig rig="balanced" dir="t"/>
          </a:scene3d>
          <a:sp3d>
            <a:bevelT w="0" h="0"/>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GB" altLang="de-DE" sz="4400">
                <a:effectLst>
                  <a:innerShdw blurRad="114300">
                    <a:prstClr val="black">
                      <a:alpha val="96000"/>
                    </a:prstClr>
                  </a:innerShdw>
                </a:effectLst>
                <a:cs typeface="Arial" charset="0"/>
              </a:rPr>
              <a:t>F</a:t>
            </a:r>
            <a:endParaRPr lang="en-GB" altLang="de-DE" sz="4400" dirty="0">
              <a:effectLst>
                <a:innerShdw blurRad="114300">
                  <a:prstClr val="black">
                    <a:alpha val="96000"/>
                  </a:prstClr>
                </a:innerShdw>
              </a:effectLst>
              <a:cs typeface="Arial" charset="0"/>
            </a:endParaRPr>
          </a:p>
        </p:txBody>
      </p:sp>
      <p:sp>
        <p:nvSpPr>
          <p:cNvPr id="37" name="Oval 69"/>
          <p:cNvSpPr>
            <a:spLocks noChangeArrowheads="1"/>
          </p:cNvSpPr>
          <p:nvPr/>
        </p:nvSpPr>
        <p:spPr bwMode="auto">
          <a:xfrm>
            <a:off x="7284430" y="2654210"/>
            <a:ext cx="872693" cy="873701"/>
          </a:xfrm>
          <a:prstGeom prst="ellipse">
            <a:avLst/>
          </a:prstGeom>
          <a:gradFill flip="none" rotWithShape="1">
            <a:gsLst>
              <a:gs pos="0">
                <a:srgbClr val="F2F2F2"/>
              </a:gs>
              <a:gs pos="100000">
                <a:srgbClr val="CCCCCC"/>
              </a:gs>
            </a:gsLst>
            <a:path path="circle">
              <a:fillToRect l="100000" t="100000"/>
            </a:path>
            <a:tileRect r="-100000" b="-100000"/>
          </a:gradFill>
          <a:ln w="9525">
            <a:solidFill>
              <a:schemeClr val="bg1">
                <a:lumMod val="75000"/>
              </a:schemeClr>
            </a:solidFill>
            <a:round/>
            <a:headEnd/>
            <a:tailEnd/>
          </a:ln>
          <a:effectLst/>
          <a:scene3d>
            <a:camera prst="orthographicFront"/>
            <a:lightRig rig="balanced" dir="t"/>
          </a:scene3d>
          <a:sp3d>
            <a:bevelT w="0" h="0"/>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GB" altLang="de-DE" sz="4400">
                <a:effectLst>
                  <a:innerShdw blurRad="114300">
                    <a:prstClr val="black">
                      <a:alpha val="96000"/>
                    </a:prstClr>
                  </a:innerShdw>
                </a:effectLst>
                <a:cs typeface="Arial" charset="0"/>
              </a:rPr>
              <a:t>D</a:t>
            </a:r>
            <a:endParaRPr lang="en-GB" altLang="de-DE" sz="4400" dirty="0">
              <a:effectLst>
                <a:innerShdw blurRad="114300">
                  <a:prstClr val="black">
                    <a:alpha val="96000"/>
                  </a:prstClr>
                </a:innerShdw>
              </a:effectLst>
              <a:cs typeface="Arial" charset="0"/>
            </a:endParaRPr>
          </a:p>
        </p:txBody>
      </p:sp>
      <p:sp>
        <p:nvSpPr>
          <p:cNvPr id="54" name="Text Box 53" descr="© INSCALE GmbH, 26.05.2010&#10;http://www.presentationload.com/"/>
          <p:cNvSpPr txBox="1">
            <a:spLocks noChangeArrowheads="1"/>
          </p:cNvSpPr>
          <p:nvPr/>
        </p:nvSpPr>
        <p:spPr bwMode="gray">
          <a:xfrm>
            <a:off x="9588580" y="1416050"/>
            <a:ext cx="2133520" cy="1164678"/>
          </a:xfrm>
          <a:prstGeom prst="rect">
            <a:avLst/>
          </a:prstGeom>
          <a:noFill/>
          <a:ln w="9525">
            <a:noFill/>
            <a:miter lim="800000"/>
            <a:headEnd/>
            <a:tailEnd/>
          </a:ln>
        </p:spPr>
        <p:txBody>
          <a:bodyPr wrap="square" lIns="0" tIns="0" rIns="0" bIns="0">
            <a:spAutoFit/>
          </a:bodyPr>
          <a:lstStyle/>
          <a:p>
            <a:pPr algn="r" defTabSz="801688">
              <a:lnSpc>
                <a:spcPct val="93000"/>
              </a:lnSpc>
              <a:spcBef>
                <a:spcPct val="0"/>
              </a:spcBef>
              <a:spcAft>
                <a:spcPts val="600"/>
              </a:spcAft>
            </a:pPr>
            <a:r>
              <a:rPr lang="en-GB" sz="2000" noProof="1">
                <a:cs typeface="Arial" charset="0"/>
              </a:rPr>
              <a:t>Description 2</a:t>
            </a:r>
          </a:p>
          <a:p>
            <a:pPr algn="r" defTabSz="801688">
              <a:lnSpc>
                <a:spcPct val="93000"/>
              </a:lnSpc>
              <a:spcBef>
                <a:spcPct val="0"/>
              </a:spcBef>
              <a:spcAft>
                <a:spcPts val="1200"/>
              </a:spcAft>
            </a:pPr>
            <a:r>
              <a:rPr lang="en-GB" sz="1400" noProof="1"/>
              <a:t>The text demonstrates how your own text will look when you replace the placeholder with your own text.</a:t>
            </a:r>
          </a:p>
        </p:txBody>
      </p:sp>
      <p:sp>
        <p:nvSpPr>
          <p:cNvPr id="57" name="Text Box 53" descr="© INSCALE GmbH, 26.05.2010&#10;http://www.presentationload.com/"/>
          <p:cNvSpPr txBox="1">
            <a:spLocks noChangeArrowheads="1"/>
          </p:cNvSpPr>
          <p:nvPr/>
        </p:nvSpPr>
        <p:spPr bwMode="gray">
          <a:xfrm>
            <a:off x="482600" y="1416050"/>
            <a:ext cx="2281329" cy="1164678"/>
          </a:xfrm>
          <a:prstGeom prst="rect">
            <a:avLst/>
          </a:prstGeom>
          <a:noFill/>
          <a:ln w="9525">
            <a:noFill/>
            <a:miter lim="800000"/>
            <a:headEnd/>
            <a:tailEnd/>
          </a:ln>
        </p:spPr>
        <p:txBody>
          <a:bodyPr wrap="square" lIns="0" tIns="0" rIns="0" bIns="0">
            <a:spAutoFit/>
          </a:bodyPr>
          <a:lstStyle/>
          <a:p>
            <a:pPr defTabSz="801688">
              <a:lnSpc>
                <a:spcPct val="93000"/>
              </a:lnSpc>
              <a:spcBef>
                <a:spcPct val="0"/>
              </a:spcBef>
              <a:spcAft>
                <a:spcPts val="600"/>
              </a:spcAft>
            </a:pPr>
            <a:r>
              <a:rPr lang="en-GB" sz="2000" noProof="1">
                <a:cs typeface="Arial" charset="0"/>
              </a:rPr>
              <a:t>Description 1</a:t>
            </a:r>
          </a:p>
          <a:p>
            <a:pPr defTabSz="801688">
              <a:lnSpc>
                <a:spcPct val="93000"/>
              </a:lnSpc>
              <a:spcBef>
                <a:spcPct val="0"/>
              </a:spcBef>
              <a:spcAft>
                <a:spcPts val="1200"/>
              </a:spcAft>
            </a:pPr>
            <a:r>
              <a:rPr lang="en-GB" sz="1400" noProof="1"/>
              <a:t>The text demonstrates how your own text will look when you replace the placeholder with your own text.</a:t>
            </a:r>
          </a:p>
        </p:txBody>
      </p:sp>
    </p:spTree>
    <p:custDataLst>
      <p:tags r:id="rId1"/>
    </p:custDataLst>
    <p:extLst>
      <p:ext uri="{BB962C8B-B14F-4D97-AF65-F5344CB8AC3E}">
        <p14:creationId xmlns:p14="http://schemas.microsoft.com/office/powerpoint/2010/main" val="1486742723"/>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B49F3AE-B774-4938-A0CB-E09CBCBD2B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59" imgH="360" progId="TCLayout.ActiveDocument.1">
                  <p:embed/>
                </p:oleObj>
              </mc:Choice>
              <mc:Fallback>
                <p:oleObj name="think-cell Folie" r:id="rId7" imgW="359" imgH="360" progId="TCLayout.ActiveDocument.1">
                  <p:embed/>
                  <p:pic>
                    <p:nvPicPr>
                      <p:cNvPr id="4" name="Objekt 3" hidden="1">
                        <a:extLst>
                          <a:ext uri="{FF2B5EF4-FFF2-40B4-BE49-F238E27FC236}">
                            <a16:creationId xmlns:a16="http://schemas.microsoft.com/office/drawing/2014/main" id="{CB49F3AE-B774-4938-A0CB-E09CBCBD2B9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702F768-43AF-47E5-9E19-797945E689F9}"/>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40963" name="_h1"/>
          <p:cNvSpPr>
            <a:spLocks noGrp="1" noChangeArrowheads="1"/>
          </p:cNvSpPr>
          <p:nvPr>
            <p:ph type="title"/>
          </p:nvPr>
        </p:nvSpPr>
        <p:spPr>
          <a:xfrm>
            <a:off x="488947" y="347184"/>
            <a:ext cx="11224684" cy="372090"/>
          </a:xfrm>
        </p:spPr>
        <p:txBody>
          <a:bodyPr/>
          <a:lstStyle/>
          <a:p>
            <a:r>
              <a:rPr lang="en-GB" altLang="de-DE" noProof="1"/>
              <a:t>Looping Circle Charts.</a:t>
            </a:r>
            <a:br>
              <a:rPr lang="en-GB" altLang="de-DE" noProof="1"/>
            </a:br>
            <a:r>
              <a:rPr lang="en-GB" altLang="de-DE" noProof="1"/>
              <a:t>7 Segments.</a:t>
            </a:r>
            <a:endParaRPr lang="en-GB" noProof="1"/>
          </a:p>
        </p:txBody>
      </p:sp>
      <p:grpSp>
        <p:nvGrpSpPr>
          <p:cNvPr id="2" name="Gruppieren 1"/>
          <p:cNvGrpSpPr/>
          <p:nvPr/>
        </p:nvGrpSpPr>
        <p:grpSpPr>
          <a:xfrm>
            <a:off x="5975387" y="1517995"/>
            <a:ext cx="5626244" cy="3822010"/>
            <a:chOff x="5975387" y="1958420"/>
            <a:chExt cx="5626244" cy="3822010"/>
          </a:xfrm>
        </p:grpSpPr>
        <p:sp>
          <p:nvSpPr>
            <p:cNvPr id="30" name="Freeform 14"/>
            <p:cNvSpPr>
              <a:spLocks/>
            </p:cNvSpPr>
            <p:nvPr/>
          </p:nvSpPr>
          <p:spPr bwMode="auto">
            <a:xfrm>
              <a:off x="7886392" y="4985987"/>
              <a:ext cx="1346390" cy="794443"/>
            </a:xfrm>
            <a:custGeom>
              <a:avLst/>
              <a:gdLst>
                <a:gd name="T0" fmla="*/ 300 w 315"/>
                <a:gd name="T1" fmla="*/ 15 h 186"/>
                <a:gd name="T2" fmla="*/ 260 w 315"/>
                <a:gd name="T3" fmla="*/ 0 h 186"/>
                <a:gd name="T4" fmla="*/ 258 w 315"/>
                <a:gd name="T5" fmla="*/ 2 h 186"/>
                <a:gd name="T6" fmla="*/ 0 w 315"/>
                <a:gd name="T7" fmla="*/ 108 h 186"/>
                <a:gd name="T8" fmla="*/ 0 w 315"/>
                <a:gd name="T9" fmla="*/ 186 h 186"/>
                <a:gd name="T10" fmla="*/ 252 w 315"/>
                <a:gd name="T11" fmla="*/ 108 h 186"/>
                <a:gd name="T12" fmla="*/ 313 w 315"/>
                <a:gd name="T13" fmla="*/ 57 h 186"/>
                <a:gd name="T14" fmla="*/ 315 w 315"/>
                <a:gd name="T15" fmla="*/ 55 h 186"/>
                <a:gd name="T16" fmla="*/ 300 w 315"/>
                <a:gd name="T17" fmla="*/ 1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186">
                  <a:moveTo>
                    <a:pt x="300" y="15"/>
                  </a:moveTo>
                  <a:cubicBezTo>
                    <a:pt x="260" y="0"/>
                    <a:pt x="260" y="0"/>
                    <a:pt x="260" y="0"/>
                  </a:cubicBezTo>
                  <a:cubicBezTo>
                    <a:pt x="259" y="1"/>
                    <a:pt x="258" y="1"/>
                    <a:pt x="258" y="2"/>
                  </a:cubicBezTo>
                  <a:cubicBezTo>
                    <a:pt x="191" y="67"/>
                    <a:pt x="100" y="108"/>
                    <a:pt x="0" y="108"/>
                  </a:cubicBezTo>
                  <a:cubicBezTo>
                    <a:pt x="0" y="186"/>
                    <a:pt x="0" y="186"/>
                    <a:pt x="0" y="186"/>
                  </a:cubicBezTo>
                  <a:cubicBezTo>
                    <a:pt x="93" y="186"/>
                    <a:pt x="180" y="157"/>
                    <a:pt x="252" y="108"/>
                  </a:cubicBezTo>
                  <a:cubicBezTo>
                    <a:pt x="274" y="93"/>
                    <a:pt x="294" y="76"/>
                    <a:pt x="313" y="57"/>
                  </a:cubicBezTo>
                  <a:cubicBezTo>
                    <a:pt x="314" y="57"/>
                    <a:pt x="314" y="56"/>
                    <a:pt x="315" y="55"/>
                  </a:cubicBezTo>
                  <a:lnTo>
                    <a:pt x="300" y="15"/>
                  </a:lnTo>
                  <a:close/>
                </a:path>
              </a:pathLst>
            </a:custGeom>
            <a:solidFill>
              <a:schemeClr val="tx1">
                <a:lumMod val="50000"/>
                <a:lumOff val="50000"/>
              </a:schemeClr>
            </a:solidFill>
            <a:ln w="9525">
              <a:solidFill>
                <a:schemeClr val="bg1"/>
              </a:solidFill>
              <a:miter lim="800000"/>
              <a:headEnd/>
              <a:tailEnd/>
            </a:ln>
            <a:scene3d>
              <a:camera prst="orthographicFront"/>
              <a:lightRig rig="threePt" dir="t"/>
            </a:scene3d>
            <a:sp3d extrusionH="76200">
              <a:bevelT w="0" h="0"/>
              <a:bevelB w="0" h="0"/>
              <a:extrusionClr>
                <a:schemeClr val="accent1"/>
              </a:extrusionClr>
            </a:sp3d>
          </p:spPr>
          <p:txBody>
            <a:bodyPr/>
            <a:lstStyle/>
            <a:p>
              <a:endParaRPr lang="en-GB" dirty="0"/>
            </a:p>
          </p:txBody>
        </p:sp>
        <p:sp>
          <p:nvSpPr>
            <p:cNvPr id="31" name="Freeform 15"/>
            <p:cNvSpPr>
              <a:spLocks/>
            </p:cNvSpPr>
            <p:nvPr/>
          </p:nvSpPr>
          <p:spPr bwMode="auto">
            <a:xfrm>
              <a:off x="6530953" y="4982368"/>
              <a:ext cx="5070678" cy="798062"/>
            </a:xfrm>
            <a:custGeom>
              <a:avLst/>
              <a:gdLst>
                <a:gd name="T0" fmla="*/ 1168 w 1186"/>
                <a:gd name="T1" fmla="*/ 109 h 187"/>
                <a:gd name="T2" fmla="*/ 317 w 1186"/>
                <a:gd name="T3" fmla="*/ 109 h 187"/>
                <a:gd name="T4" fmla="*/ 55 w 1186"/>
                <a:gd name="T5" fmla="*/ 0 h 187"/>
                <a:gd name="T6" fmla="*/ 39 w 1186"/>
                <a:gd name="T7" fmla="*/ 41 h 187"/>
                <a:gd name="T8" fmla="*/ 0 w 1186"/>
                <a:gd name="T9" fmla="*/ 55 h 187"/>
                <a:gd name="T10" fmla="*/ 317 w 1186"/>
                <a:gd name="T11" fmla="*/ 187 h 187"/>
                <a:gd name="T12" fmla="*/ 1168 w 1186"/>
                <a:gd name="T13" fmla="*/ 187 h 187"/>
                <a:gd name="T14" fmla="*/ 1186 w 1186"/>
                <a:gd name="T15" fmla="*/ 149 h 187"/>
                <a:gd name="T16" fmla="*/ 1168 w 1186"/>
                <a:gd name="T17" fmla="*/ 10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6" h="187">
                  <a:moveTo>
                    <a:pt x="1168" y="109"/>
                  </a:moveTo>
                  <a:cubicBezTo>
                    <a:pt x="317" y="109"/>
                    <a:pt x="317" y="109"/>
                    <a:pt x="317" y="109"/>
                  </a:cubicBezTo>
                  <a:cubicBezTo>
                    <a:pt x="214" y="109"/>
                    <a:pt x="122" y="67"/>
                    <a:pt x="55" y="0"/>
                  </a:cubicBezTo>
                  <a:cubicBezTo>
                    <a:pt x="39" y="41"/>
                    <a:pt x="39" y="41"/>
                    <a:pt x="39" y="41"/>
                  </a:cubicBezTo>
                  <a:cubicBezTo>
                    <a:pt x="0" y="55"/>
                    <a:pt x="0" y="55"/>
                    <a:pt x="0" y="55"/>
                  </a:cubicBezTo>
                  <a:cubicBezTo>
                    <a:pt x="81" y="136"/>
                    <a:pt x="193" y="187"/>
                    <a:pt x="317" y="187"/>
                  </a:cubicBezTo>
                  <a:cubicBezTo>
                    <a:pt x="1168" y="187"/>
                    <a:pt x="1168" y="187"/>
                    <a:pt x="1168" y="187"/>
                  </a:cubicBezTo>
                  <a:cubicBezTo>
                    <a:pt x="1186" y="149"/>
                    <a:pt x="1186" y="149"/>
                    <a:pt x="1186" y="149"/>
                  </a:cubicBezTo>
                  <a:lnTo>
                    <a:pt x="1168" y="109"/>
                  </a:lnTo>
                  <a:close/>
                </a:path>
              </a:pathLst>
            </a:custGeom>
            <a:solidFill>
              <a:schemeClr val="bg1">
                <a:lumMod val="50000"/>
              </a:schemeClr>
            </a:solidFill>
            <a:ln w="9525">
              <a:solidFill>
                <a:schemeClr val="bg1"/>
              </a:solidFill>
              <a:miter lim="800000"/>
              <a:headEnd/>
              <a:tailEnd/>
            </a:ln>
            <a:scene3d>
              <a:camera prst="orthographicFront"/>
              <a:lightRig rig="threePt" dir="t"/>
            </a:scene3d>
            <a:sp3d extrusionH="76200">
              <a:bevelT w="0" h="0"/>
              <a:bevelB w="0" h="0"/>
              <a:extrusionClr>
                <a:schemeClr val="accent1"/>
              </a:extrusionClr>
            </a:sp3d>
          </p:spPr>
          <p:txBody>
            <a:bodyPr/>
            <a:lstStyle/>
            <a:p>
              <a:endParaRPr lang="en-GB" dirty="0"/>
            </a:p>
          </p:txBody>
        </p:sp>
        <p:sp>
          <p:nvSpPr>
            <p:cNvPr id="32" name="Freeform 16"/>
            <p:cNvSpPr>
              <a:spLocks/>
            </p:cNvSpPr>
            <p:nvPr/>
          </p:nvSpPr>
          <p:spPr bwMode="auto">
            <a:xfrm>
              <a:off x="5975387" y="3567211"/>
              <a:ext cx="790822" cy="1650413"/>
            </a:xfrm>
            <a:custGeom>
              <a:avLst/>
              <a:gdLst>
                <a:gd name="T0" fmla="*/ 5 w 185"/>
                <a:gd name="T1" fmla="*/ 0 h 386"/>
                <a:gd name="T2" fmla="*/ 0 w 185"/>
                <a:gd name="T3" fmla="*/ 71 h 386"/>
                <a:gd name="T4" fmla="*/ 128 w 185"/>
                <a:gd name="T5" fmla="*/ 384 h 386"/>
                <a:gd name="T6" fmla="*/ 130 w 185"/>
                <a:gd name="T7" fmla="*/ 386 h 386"/>
                <a:gd name="T8" fmla="*/ 169 w 185"/>
                <a:gd name="T9" fmla="*/ 372 h 386"/>
                <a:gd name="T10" fmla="*/ 185 w 185"/>
                <a:gd name="T11" fmla="*/ 331 h 386"/>
                <a:gd name="T12" fmla="*/ 183 w 185"/>
                <a:gd name="T13" fmla="*/ 329 h 386"/>
                <a:gd name="T14" fmla="*/ 78 w 185"/>
                <a:gd name="T15" fmla="*/ 71 h 386"/>
                <a:gd name="T16" fmla="*/ 82 w 185"/>
                <a:gd name="T17" fmla="*/ 12 h 386"/>
                <a:gd name="T18" fmla="*/ 42 w 185"/>
                <a:gd name="T19" fmla="*/ 24 h 386"/>
                <a:gd name="T20" fmla="*/ 5 w 185"/>
                <a:gd name="T21"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386">
                  <a:moveTo>
                    <a:pt x="5" y="0"/>
                  </a:moveTo>
                  <a:cubicBezTo>
                    <a:pt x="1" y="23"/>
                    <a:pt x="0" y="47"/>
                    <a:pt x="0" y="71"/>
                  </a:cubicBezTo>
                  <a:cubicBezTo>
                    <a:pt x="0" y="193"/>
                    <a:pt x="49" y="303"/>
                    <a:pt x="128" y="384"/>
                  </a:cubicBezTo>
                  <a:cubicBezTo>
                    <a:pt x="129" y="385"/>
                    <a:pt x="129" y="385"/>
                    <a:pt x="130" y="386"/>
                  </a:cubicBezTo>
                  <a:cubicBezTo>
                    <a:pt x="169" y="372"/>
                    <a:pt x="169" y="372"/>
                    <a:pt x="169" y="372"/>
                  </a:cubicBezTo>
                  <a:cubicBezTo>
                    <a:pt x="185" y="331"/>
                    <a:pt x="185" y="331"/>
                    <a:pt x="185" y="331"/>
                  </a:cubicBezTo>
                  <a:cubicBezTo>
                    <a:pt x="184" y="330"/>
                    <a:pt x="184" y="329"/>
                    <a:pt x="183" y="329"/>
                  </a:cubicBezTo>
                  <a:cubicBezTo>
                    <a:pt x="118" y="262"/>
                    <a:pt x="78" y="171"/>
                    <a:pt x="78" y="71"/>
                  </a:cubicBezTo>
                  <a:cubicBezTo>
                    <a:pt x="78" y="51"/>
                    <a:pt x="79" y="31"/>
                    <a:pt x="82" y="12"/>
                  </a:cubicBezTo>
                  <a:cubicBezTo>
                    <a:pt x="42" y="24"/>
                    <a:pt x="42" y="24"/>
                    <a:pt x="42" y="24"/>
                  </a:cubicBezTo>
                  <a:lnTo>
                    <a:pt x="5" y="0"/>
                  </a:lnTo>
                  <a:close/>
                </a:path>
              </a:pathLst>
            </a:custGeom>
            <a:solidFill>
              <a:schemeClr val="bg1">
                <a:lumMod val="75000"/>
              </a:schemeClr>
            </a:solidFill>
            <a:ln w="9525">
              <a:solidFill>
                <a:schemeClr val="bg1"/>
              </a:solidFill>
              <a:miter lim="800000"/>
              <a:headEnd/>
              <a:tailEnd/>
            </a:ln>
            <a:scene3d>
              <a:camera prst="orthographicFront"/>
              <a:lightRig rig="threePt" dir="t"/>
            </a:scene3d>
            <a:sp3d extrusionH="76200">
              <a:bevelT w="0" h="0"/>
              <a:bevelB w="0" h="0"/>
              <a:extrusionClr>
                <a:schemeClr val="accent1"/>
              </a:extrusionClr>
            </a:sp3d>
          </p:spPr>
          <p:txBody>
            <a:bodyPr/>
            <a:lstStyle/>
            <a:p>
              <a:endParaRPr lang="en-GB" dirty="0"/>
            </a:p>
          </p:txBody>
        </p:sp>
        <p:sp>
          <p:nvSpPr>
            <p:cNvPr id="33" name="Freeform 17"/>
            <p:cNvSpPr>
              <a:spLocks/>
            </p:cNvSpPr>
            <p:nvPr/>
          </p:nvSpPr>
          <p:spPr bwMode="auto">
            <a:xfrm>
              <a:off x="8997525" y="3523779"/>
              <a:ext cx="799871" cy="1697465"/>
            </a:xfrm>
            <a:custGeom>
              <a:avLst/>
              <a:gdLst>
                <a:gd name="T0" fmla="*/ 182 w 187"/>
                <a:gd name="T1" fmla="*/ 14 h 397"/>
                <a:gd name="T2" fmla="*/ 181 w 187"/>
                <a:gd name="T3" fmla="*/ 12 h 397"/>
                <a:gd name="T4" fmla="*/ 139 w 187"/>
                <a:gd name="T5" fmla="*/ 0 h 397"/>
                <a:gd name="T6" fmla="*/ 104 w 187"/>
                <a:gd name="T7" fmla="*/ 24 h 397"/>
                <a:gd name="T8" fmla="*/ 105 w 187"/>
                <a:gd name="T9" fmla="*/ 26 h 397"/>
                <a:gd name="T10" fmla="*/ 109 w 187"/>
                <a:gd name="T11" fmla="*/ 81 h 397"/>
                <a:gd name="T12" fmla="*/ 0 w 187"/>
                <a:gd name="T13" fmla="*/ 342 h 397"/>
                <a:gd name="T14" fmla="*/ 40 w 187"/>
                <a:gd name="T15" fmla="*/ 357 h 397"/>
                <a:gd name="T16" fmla="*/ 55 w 187"/>
                <a:gd name="T17" fmla="*/ 397 h 397"/>
                <a:gd name="T18" fmla="*/ 187 w 187"/>
                <a:gd name="T19" fmla="*/ 81 h 397"/>
                <a:gd name="T20" fmla="*/ 182 w 187"/>
                <a:gd name="T21" fmla="*/ 14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397">
                  <a:moveTo>
                    <a:pt x="182" y="14"/>
                  </a:moveTo>
                  <a:cubicBezTo>
                    <a:pt x="181" y="13"/>
                    <a:pt x="181" y="12"/>
                    <a:pt x="181" y="12"/>
                  </a:cubicBezTo>
                  <a:cubicBezTo>
                    <a:pt x="139" y="0"/>
                    <a:pt x="139" y="0"/>
                    <a:pt x="139" y="0"/>
                  </a:cubicBezTo>
                  <a:cubicBezTo>
                    <a:pt x="104" y="24"/>
                    <a:pt x="104" y="24"/>
                    <a:pt x="104" y="24"/>
                  </a:cubicBezTo>
                  <a:cubicBezTo>
                    <a:pt x="104" y="25"/>
                    <a:pt x="104" y="26"/>
                    <a:pt x="105" y="26"/>
                  </a:cubicBezTo>
                  <a:cubicBezTo>
                    <a:pt x="107" y="44"/>
                    <a:pt x="109" y="62"/>
                    <a:pt x="109" y="81"/>
                  </a:cubicBezTo>
                  <a:cubicBezTo>
                    <a:pt x="109" y="183"/>
                    <a:pt x="67" y="275"/>
                    <a:pt x="0" y="342"/>
                  </a:cubicBezTo>
                  <a:cubicBezTo>
                    <a:pt x="40" y="357"/>
                    <a:pt x="40" y="357"/>
                    <a:pt x="40" y="357"/>
                  </a:cubicBezTo>
                  <a:cubicBezTo>
                    <a:pt x="55" y="397"/>
                    <a:pt x="55" y="397"/>
                    <a:pt x="55" y="397"/>
                  </a:cubicBezTo>
                  <a:cubicBezTo>
                    <a:pt x="136" y="316"/>
                    <a:pt x="187" y="204"/>
                    <a:pt x="187" y="81"/>
                  </a:cubicBezTo>
                  <a:cubicBezTo>
                    <a:pt x="187" y="58"/>
                    <a:pt x="185" y="36"/>
                    <a:pt x="182" y="14"/>
                  </a:cubicBezTo>
                  <a:close/>
                </a:path>
              </a:pathLst>
            </a:custGeom>
            <a:solidFill>
              <a:schemeClr val="bg1">
                <a:lumMod val="75000"/>
              </a:schemeClr>
            </a:solidFill>
            <a:ln w="9525">
              <a:solidFill>
                <a:schemeClr val="bg1"/>
              </a:solidFill>
              <a:miter lim="800000"/>
              <a:headEnd/>
              <a:tailEnd/>
            </a:ln>
            <a:scene3d>
              <a:camera prst="orthographicFront"/>
              <a:lightRig rig="threePt" dir="t"/>
            </a:scene3d>
            <a:sp3d extrusionH="76200">
              <a:bevelT w="0" h="0"/>
              <a:bevelB w="0" h="0"/>
              <a:extrusionClr>
                <a:schemeClr val="accent1"/>
              </a:extrusionClr>
            </a:sp3d>
          </p:spPr>
          <p:txBody>
            <a:bodyPr/>
            <a:lstStyle/>
            <a:p>
              <a:endParaRPr lang="en-GB" dirty="0"/>
            </a:p>
          </p:txBody>
        </p:sp>
        <p:sp>
          <p:nvSpPr>
            <p:cNvPr id="34" name="Freeform 18"/>
            <p:cNvSpPr>
              <a:spLocks/>
            </p:cNvSpPr>
            <p:nvPr/>
          </p:nvSpPr>
          <p:spPr bwMode="auto">
            <a:xfrm>
              <a:off x="8604828" y="2168341"/>
              <a:ext cx="1167234" cy="1458589"/>
            </a:xfrm>
            <a:custGeom>
              <a:avLst/>
              <a:gdLst>
                <a:gd name="T0" fmla="*/ 150 w 273"/>
                <a:gd name="T1" fmla="*/ 84 h 341"/>
                <a:gd name="T2" fmla="*/ 148 w 273"/>
                <a:gd name="T3" fmla="*/ 82 h 341"/>
                <a:gd name="T4" fmla="*/ 38 w 273"/>
                <a:gd name="T5" fmla="*/ 1 h 341"/>
                <a:gd name="T6" fmla="*/ 35 w 273"/>
                <a:gd name="T7" fmla="*/ 0 h 341"/>
                <a:gd name="T8" fmla="*/ 1 w 273"/>
                <a:gd name="T9" fmla="*/ 27 h 341"/>
                <a:gd name="T10" fmla="*/ 0 w 273"/>
                <a:gd name="T11" fmla="*/ 69 h 341"/>
                <a:gd name="T12" fmla="*/ 2 w 273"/>
                <a:gd name="T13" fmla="*/ 70 h 341"/>
                <a:gd name="T14" fmla="*/ 93 w 273"/>
                <a:gd name="T15" fmla="*/ 137 h 341"/>
                <a:gd name="T16" fmla="*/ 95 w 273"/>
                <a:gd name="T17" fmla="*/ 139 h 341"/>
                <a:gd name="T18" fmla="*/ 196 w 273"/>
                <a:gd name="T19" fmla="*/ 341 h 341"/>
                <a:gd name="T20" fmla="*/ 231 w 273"/>
                <a:gd name="T21" fmla="*/ 317 h 341"/>
                <a:gd name="T22" fmla="*/ 273 w 273"/>
                <a:gd name="T23" fmla="*/ 329 h 341"/>
                <a:gd name="T24" fmla="*/ 150 w 273"/>
                <a:gd name="T25" fmla="*/ 8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1">
                  <a:moveTo>
                    <a:pt x="150" y="84"/>
                  </a:moveTo>
                  <a:cubicBezTo>
                    <a:pt x="150" y="84"/>
                    <a:pt x="149" y="83"/>
                    <a:pt x="148" y="82"/>
                  </a:cubicBezTo>
                  <a:cubicBezTo>
                    <a:pt x="116" y="50"/>
                    <a:pt x="79" y="22"/>
                    <a:pt x="38" y="1"/>
                  </a:cubicBezTo>
                  <a:cubicBezTo>
                    <a:pt x="37" y="1"/>
                    <a:pt x="36" y="0"/>
                    <a:pt x="35" y="0"/>
                  </a:cubicBezTo>
                  <a:cubicBezTo>
                    <a:pt x="1" y="27"/>
                    <a:pt x="1" y="27"/>
                    <a:pt x="1" y="27"/>
                  </a:cubicBezTo>
                  <a:cubicBezTo>
                    <a:pt x="0" y="69"/>
                    <a:pt x="0" y="69"/>
                    <a:pt x="0" y="69"/>
                  </a:cubicBezTo>
                  <a:cubicBezTo>
                    <a:pt x="1" y="70"/>
                    <a:pt x="2" y="70"/>
                    <a:pt x="2" y="70"/>
                  </a:cubicBezTo>
                  <a:cubicBezTo>
                    <a:pt x="36" y="88"/>
                    <a:pt x="67" y="111"/>
                    <a:pt x="93" y="137"/>
                  </a:cubicBezTo>
                  <a:cubicBezTo>
                    <a:pt x="94" y="138"/>
                    <a:pt x="94" y="139"/>
                    <a:pt x="95" y="139"/>
                  </a:cubicBezTo>
                  <a:cubicBezTo>
                    <a:pt x="148" y="193"/>
                    <a:pt x="184" y="263"/>
                    <a:pt x="196" y="341"/>
                  </a:cubicBezTo>
                  <a:cubicBezTo>
                    <a:pt x="231" y="317"/>
                    <a:pt x="231" y="317"/>
                    <a:pt x="231" y="317"/>
                  </a:cubicBezTo>
                  <a:cubicBezTo>
                    <a:pt x="273" y="329"/>
                    <a:pt x="273" y="329"/>
                    <a:pt x="273" y="329"/>
                  </a:cubicBezTo>
                  <a:cubicBezTo>
                    <a:pt x="259" y="234"/>
                    <a:pt x="214" y="149"/>
                    <a:pt x="150" y="84"/>
                  </a:cubicBezTo>
                  <a:close/>
                </a:path>
              </a:pathLst>
            </a:custGeom>
            <a:solidFill>
              <a:schemeClr val="tx1">
                <a:lumMod val="50000"/>
                <a:lumOff val="50000"/>
              </a:schemeClr>
            </a:solidFill>
            <a:ln w="9525">
              <a:solidFill>
                <a:schemeClr val="bg1"/>
              </a:solidFill>
              <a:miter lim="800000"/>
              <a:headEnd/>
              <a:tailEnd/>
            </a:ln>
            <a:scene3d>
              <a:camera prst="orthographicFront"/>
              <a:lightRig rig="threePt" dir="t"/>
            </a:scene3d>
            <a:sp3d extrusionH="76200">
              <a:bevelT w="0" h="0"/>
              <a:bevelB w="0" h="0"/>
              <a:extrusionClr>
                <a:schemeClr val="accent1"/>
              </a:extrusionClr>
            </a:sp3d>
          </p:spPr>
          <p:txBody>
            <a:bodyPr/>
            <a:lstStyle/>
            <a:p>
              <a:endParaRPr lang="en-GB" dirty="0"/>
            </a:p>
          </p:txBody>
        </p:sp>
        <p:sp>
          <p:nvSpPr>
            <p:cNvPr id="35" name="Freeform 19"/>
            <p:cNvSpPr>
              <a:spLocks/>
            </p:cNvSpPr>
            <p:nvPr/>
          </p:nvSpPr>
          <p:spPr bwMode="auto">
            <a:xfrm>
              <a:off x="7017753" y="1958420"/>
              <a:ext cx="1735467" cy="504896"/>
            </a:xfrm>
            <a:custGeom>
              <a:avLst/>
              <a:gdLst>
                <a:gd name="T0" fmla="*/ 203 w 406"/>
                <a:gd name="T1" fmla="*/ 0 h 118"/>
                <a:gd name="T2" fmla="*/ 3 w 406"/>
                <a:gd name="T3" fmla="*/ 47 h 118"/>
                <a:gd name="T4" fmla="*/ 0 w 406"/>
                <a:gd name="T5" fmla="*/ 48 h 118"/>
                <a:gd name="T6" fmla="*/ 2 w 406"/>
                <a:gd name="T7" fmla="*/ 92 h 118"/>
                <a:gd name="T8" fmla="*/ 36 w 406"/>
                <a:gd name="T9" fmla="*/ 117 h 118"/>
                <a:gd name="T10" fmla="*/ 38 w 406"/>
                <a:gd name="T11" fmla="*/ 116 h 118"/>
                <a:gd name="T12" fmla="*/ 203 w 406"/>
                <a:gd name="T13" fmla="*/ 78 h 118"/>
                <a:gd name="T14" fmla="*/ 371 w 406"/>
                <a:gd name="T15" fmla="*/ 118 h 118"/>
                <a:gd name="T16" fmla="*/ 372 w 406"/>
                <a:gd name="T17" fmla="*/ 76 h 118"/>
                <a:gd name="T18" fmla="*/ 406 w 406"/>
                <a:gd name="T19" fmla="*/ 49 h 118"/>
                <a:gd name="T20" fmla="*/ 203 w 406"/>
                <a:gd name="T2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118">
                  <a:moveTo>
                    <a:pt x="203" y="0"/>
                  </a:moveTo>
                  <a:cubicBezTo>
                    <a:pt x="131" y="0"/>
                    <a:pt x="63" y="17"/>
                    <a:pt x="3" y="47"/>
                  </a:cubicBezTo>
                  <a:cubicBezTo>
                    <a:pt x="2" y="47"/>
                    <a:pt x="1" y="47"/>
                    <a:pt x="0" y="48"/>
                  </a:cubicBezTo>
                  <a:cubicBezTo>
                    <a:pt x="2" y="92"/>
                    <a:pt x="2" y="92"/>
                    <a:pt x="2" y="92"/>
                  </a:cubicBezTo>
                  <a:cubicBezTo>
                    <a:pt x="36" y="117"/>
                    <a:pt x="36" y="117"/>
                    <a:pt x="36" y="117"/>
                  </a:cubicBezTo>
                  <a:cubicBezTo>
                    <a:pt x="37" y="117"/>
                    <a:pt x="37" y="117"/>
                    <a:pt x="38" y="116"/>
                  </a:cubicBezTo>
                  <a:cubicBezTo>
                    <a:pt x="88" y="92"/>
                    <a:pt x="143" y="78"/>
                    <a:pt x="203" y="78"/>
                  </a:cubicBezTo>
                  <a:cubicBezTo>
                    <a:pt x="263" y="78"/>
                    <a:pt x="321" y="92"/>
                    <a:pt x="371" y="118"/>
                  </a:cubicBezTo>
                  <a:cubicBezTo>
                    <a:pt x="372" y="76"/>
                    <a:pt x="372" y="76"/>
                    <a:pt x="372" y="76"/>
                  </a:cubicBezTo>
                  <a:cubicBezTo>
                    <a:pt x="406" y="49"/>
                    <a:pt x="406" y="49"/>
                    <a:pt x="406" y="49"/>
                  </a:cubicBezTo>
                  <a:cubicBezTo>
                    <a:pt x="345" y="17"/>
                    <a:pt x="276" y="0"/>
                    <a:pt x="203" y="0"/>
                  </a:cubicBezTo>
                  <a:close/>
                </a:path>
              </a:pathLst>
            </a:custGeom>
            <a:solidFill>
              <a:schemeClr val="accent1">
                <a:lumMod val="75000"/>
              </a:schemeClr>
            </a:solidFill>
            <a:ln w="9525">
              <a:solidFill>
                <a:schemeClr val="bg1"/>
              </a:solidFill>
              <a:miter lim="800000"/>
              <a:headEnd/>
              <a:tailEnd/>
            </a:ln>
            <a:scene3d>
              <a:camera prst="orthographicFront"/>
              <a:lightRig rig="threePt" dir="t"/>
            </a:scene3d>
            <a:sp3d extrusionH="76200">
              <a:bevelT w="0" h="0"/>
              <a:bevelB w="0" h="0"/>
              <a:extrusionClr>
                <a:schemeClr val="accent1"/>
              </a:extrusionClr>
            </a:sp3d>
          </p:spPr>
          <p:txBody>
            <a:bodyPr/>
            <a:lstStyle/>
            <a:p>
              <a:endParaRPr lang="en-GB" dirty="0"/>
            </a:p>
          </p:txBody>
        </p:sp>
        <p:sp>
          <p:nvSpPr>
            <p:cNvPr id="36" name="Freeform 20"/>
            <p:cNvSpPr>
              <a:spLocks/>
            </p:cNvSpPr>
            <p:nvPr/>
          </p:nvSpPr>
          <p:spPr bwMode="auto">
            <a:xfrm>
              <a:off x="5997103" y="2164722"/>
              <a:ext cx="1174471" cy="1503830"/>
            </a:xfrm>
            <a:custGeom>
              <a:avLst/>
              <a:gdLst>
                <a:gd name="T0" fmla="*/ 241 w 275"/>
                <a:gd name="T1" fmla="*/ 44 h 352"/>
                <a:gd name="T2" fmla="*/ 239 w 275"/>
                <a:gd name="T3" fmla="*/ 0 h 352"/>
                <a:gd name="T4" fmla="*/ 128 w 275"/>
                <a:gd name="T5" fmla="*/ 80 h 352"/>
                <a:gd name="T6" fmla="*/ 126 w 275"/>
                <a:gd name="T7" fmla="*/ 82 h 352"/>
                <a:gd name="T8" fmla="*/ 1 w 275"/>
                <a:gd name="T9" fmla="*/ 325 h 352"/>
                <a:gd name="T10" fmla="*/ 0 w 275"/>
                <a:gd name="T11" fmla="*/ 328 h 352"/>
                <a:gd name="T12" fmla="*/ 37 w 275"/>
                <a:gd name="T13" fmla="*/ 352 h 352"/>
                <a:gd name="T14" fmla="*/ 77 w 275"/>
                <a:gd name="T15" fmla="*/ 340 h 352"/>
                <a:gd name="T16" fmla="*/ 78 w 275"/>
                <a:gd name="T17" fmla="*/ 337 h 352"/>
                <a:gd name="T18" fmla="*/ 182 w 275"/>
                <a:gd name="T19" fmla="*/ 137 h 352"/>
                <a:gd name="T20" fmla="*/ 184 w 275"/>
                <a:gd name="T21" fmla="*/ 135 h 352"/>
                <a:gd name="T22" fmla="*/ 275 w 275"/>
                <a:gd name="T23" fmla="*/ 69 h 352"/>
                <a:gd name="T24" fmla="*/ 241 w 275"/>
                <a:gd name="T25" fmla="*/ 4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5" h="352">
                  <a:moveTo>
                    <a:pt x="241" y="44"/>
                  </a:moveTo>
                  <a:cubicBezTo>
                    <a:pt x="239" y="0"/>
                    <a:pt x="239" y="0"/>
                    <a:pt x="239" y="0"/>
                  </a:cubicBezTo>
                  <a:cubicBezTo>
                    <a:pt x="198" y="21"/>
                    <a:pt x="161" y="48"/>
                    <a:pt x="128" y="80"/>
                  </a:cubicBezTo>
                  <a:cubicBezTo>
                    <a:pt x="128" y="80"/>
                    <a:pt x="127" y="81"/>
                    <a:pt x="126" y="82"/>
                  </a:cubicBezTo>
                  <a:cubicBezTo>
                    <a:pt x="61" y="146"/>
                    <a:pt x="16" y="231"/>
                    <a:pt x="1" y="325"/>
                  </a:cubicBezTo>
                  <a:cubicBezTo>
                    <a:pt x="0" y="326"/>
                    <a:pt x="0" y="327"/>
                    <a:pt x="0" y="328"/>
                  </a:cubicBezTo>
                  <a:cubicBezTo>
                    <a:pt x="37" y="352"/>
                    <a:pt x="37" y="352"/>
                    <a:pt x="37" y="352"/>
                  </a:cubicBezTo>
                  <a:cubicBezTo>
                    <a:pt x="77" y="340"/>
                    <a:pt x="77" y="340"/>
                    <a:pt x="77" y="340"/>
                  </a:cubicBezTo>
                  <a:cubicBezTo>
                    <a:pt x="77" y="339"/>
                    <a:pt x="78" y="338"/>
                    <a:pt x="78" y="337"/>
                  </a:cubicBezTo>
                  <a:cubicBezTo>
                    <a:pt x="91" y="260"/>
                    <a:pt x="128" y="190"/>
                    <a:pt x="182" y="137"/>
                  </a:cubicBezTo>
                  <a:cubicBezTo>
                    <a:pt x="182" y="136"/>
                    <a:pt x="183" y="135"/>
                    <a:pt x="184" y="135"/>
                  </a:cubicBezTo>
                  <a:cubicBezTo>
                    <a:pt x="210" y="109"/>
                    <a:pt x="241" y="86"/>
                    <a:pt x="275" y="69"/>
                  </a:cubicBezTo>
                  <a:lnTo>
                    <a:pt x="241" y="44"/>
                  </a:lnTo>
                  <a:close/>
                </a:path>
              </a:pathLst>
            </a:custGeom>
            <a:solidFill>
              <a:schemeClr val="tx1">
                <a:lumMod val="50000"/>
                <a:lumOff val="50000"/>
              </a:schemeClr>
            </a:solidFill>
            <a:ln w="9525">
              <a:solidFill>
                <a:schemeClr val="bg1"/>
              </a:solidFill>
              <a:miter lim="800000"/>
              <a:headEnd/>
              <a:tailEnd/>
            </a:ln>
            <a:scene3d>
              <a:camera prst="orthographicFront"/>
              <a:lightRig rig="threePt" dir="t"/>
            </a:scene3d>
            <a:sp3d extrusionH="76200">
              <a:bevelT w="0" h="0"/>
              <a:bevelB w="0" h="0"/>
              <a:extrusionClr>
                <a:schemeClr val="accent1"/>
              </a:extrusionClr>
            </a:sp3d>
          </p:spPr>
          <p:txBody>
            <a:bodyPr/>
            <a:lstStyle/>
            <a:p>
              <a:endParaRPr lang="en-GB" dirty="0"/>
            </a:p>
          </p:txBody>
        </p:sp>
      </p:grpSp>
      <p:sp>
        <p:nvSpPr>
          <p:cNvPr id="26" name="Text Box 19"/>
          <p:cNvSpPr txBox="1">
            <a:spLocks noChangeArrowheads="1"/>
          </p:cNvSpPr>
          <p:nvPr/>
        </p:nvSpPr>
        <p:spPr bwMode="gray">
          <a:xfrm>
            <a:off x="7253691" y="2946689"/>
            <a:ext cx="128171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01688">
              <a:defRPr>
                <a:solidFill>
                  <a:schemeClr val="tx1"/>
                </a:solidFill>
                <a:latin typeface="Arial" charset="0"/>
                <a:cs typeface="Arial" charset="0"/>
              </a:defRPr>
            </a:lvl1pPr>
            <a:lvl2pPr marL="742950" indent="-285750" defTabSz="801688">
              <a:defRPr>
                <a:solidFill>
                  <a:schemeClr val="tx1"/>
                </a:solidFill>
                <a:latin typeface="Arial" charset="0"/>
                <a:cs typeface="Arial" charset="0"/>
              </a:defRPr>
            </a:lvl2pPr>
            <a:lvl3pPr marL="1143000" indent="-228600" defTabSz="801688">
              <a:defRPr>
                <a:solidFill>
                  <a:schemeClr val="tx1"/>
                </a:solidFill>
                <a:latin typeface="Arial" charset="0"/>
                <a:cs typeface="Arial" charset="0"/>
              </a:defRPr>
            </a:lvl3pPr>
            <a:lvl4pPr marL="1600200" indent="-228600" defTabSz="801688">
              <a:defRPr>
                <a:solidFill>
                  <a:schemeClr val="tx1"/>
                </a:solidFill>
                <a:latin typeface="Arial" charset="0"/>
                <a:cs typeface="Arial" charset="0"/>
              </a:defRPr>
            </a:lvl4pPr>
            <a:lvl5pPr marL="2057400" indent="-228600" defTabSz="801688">
              <a:defRPr>
                <a:solidFill>
                  <a:schemeClr val="tx1"/>
                </a:solidFill>
                <a:latin typeface="Arial" charset="0"/>
                <a:cs typeface="Arial" charset="0"/>
              </a:defRPr>
            </a:lvl5pPr>
            <a:lvl6pPr marL="2514600" indent="-228600" defTabSz="801688" fontAlgn="base">
              <a:spcBef>
                <a:spcPct val="0"/>
              </a:spcBef>
              <a:spcAft>
                <a:spcPct val="0"/>
              </a:spcAft>
              <a:defRPr>
                <a:solidFill>
                  <a:schemeClr val="tx1"/>
                </a:solidFill>
                <a:latin typeface="Arial" charset="0"/>
                <a:cs typeface="Arial" charset="0"/>
              </a:defRPr>
            </a:lvl6pPr>
            <a:lvl7pPr marL="2971800" indent="-228600" defTabSz="801688" fontAlgn="base">
              <a:spcBef>
                <a:spcPct val="0"/>
              </a:spcBef>
              <a:spcAft>
                <a:spcPct val="0"/>
              </a:spcAft>
              <a:defRPr>
                <a:solidFill>
                  <a:schemeClr val="tx1"/>
                </a:solidFill>
                <a:latin typeface="Arial" charset="0"/>
                <a:cs typeface="Arial" charset="0"/>
              </a:defRPr>
            </a:lvl7pPr>
            <a:lvl8pPr marL="3429000" indent="-228600" defTabSz="801688" fontAlgn="base">
              <a:spcBef>
                <a:spcPct val="0"/>
              </a:spcBef>
              <a:spcAft>
                <a:spcPct val="0"/>
              </a:spcAft>
              <a:defRPr>
                <a:solidFill>
                  <a:schemeClr val="tx1"/>
                </a:solidFill>
                <a:latin typeface="Arial" charset="0"/>
                <a:cs typeface="Arial" charset="0"/>
              </a:defRPr>
            </a:lvl8pPr>
            <a:lvl9pPr marL="3886200" indent="-228600" defTabSz="801688" fontAlgn="base">
              <a:spcBef>
                <a:spcPct val="0"/>
              </a:spcBef>
              <a:spcAft>
                <a:spcPct val="0"/>
              </a:spcAft>
              <a:defRPr>
                <a:solidFill>
                  <a:schemeClr val="tx1"/>
                </a:solidFill>
                <a:latin typeface="Arial" charset="0"/>
                <a:cs typeface="Arial" charset="0"/>
              </a:defRPr>
            </a:lvl9pPr>
          </a:lstStyle>
          <a:p>
            <a:pPr algn="ctr">
              <a:spcAft>
                <a:spcPct val="40000"/>
              </a:spcAft>
            </a:pPr>
            <a:r>
              <a:rPr lang="en-GB" altLang="de-DE" sz="6000" noProof="1">
                <a:latin typeface="+mn-lt"/>
              </a:rPr>
              <a:t>Info</a:t>
            </a:r>
          </a:p>
        </p:txBody>
      </p:sp>
      <p:sp>
        <p:nvSpPr>
          <p:cNvPr id="39" name="Text Box 91"/>
          <p:cNvSpPr txBox="1">
            <a:spLocks noChangeArrowheads="1"/>
          </p:cNvSpPr>
          <p:nvPr/>
        </p:nvSpPr>
        <p:spPr bwMode="auto">
          <a:xfrm>
            <a:off x="9763780" y="5443877"/>
            <a:ext cx="155100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altLang="de-DE" sz="2000" noProof="1"/>
              <a:t>Placeholder text</a:t>
            </a:r>
          </a:p>
        </p:txBody>
      </p:sp>
      <p:sp>
        <p:nvSpPr>
          <p:cNvPr id="41" name="_text"/>
          <p:cNvSpPr txBox="1">
            <a:spLocks/>
          </p:cNvSpPr>
          <p:nvPr>
            <p:custDataLst>
              <p:tags r:id="rId4"/>
            </p:custDataLst>
          </p:nvPr>
        </p:nvSpPr>
        <p:spPr bwMode="gray">
          <a:xfrm>
            <a:off x="488948" y="1409700"/>
            <a:ext cx="4947057" cy="4714875"/>
          </a:xfrm>
          <a:prstGeom prst="rect">
            <a:avLst/>
          </a:prstGeom>
        </p:spPr>
        <p:txBody>
          <a:bodyPr vert="horz" lIns="0" tIns="0" rIns="0" bIns="0" rtlCol="0" anchor="ctr">
            <a:noAutofit/>
          </a:bodyPr>
          <a:lstStyle>
            <a:lvl1pPr marL="190800" indent="-190800" algn="l" defTabSz="914400" rtl="0" eaLnBrk="1" latinLnBrk="0" hangingPunct="1">
              <a:buClr>
                <a:srgbClr val="7F7F7F"/>
              </a:buClr>
              <a:buFont typeface="Wingdings" panose="05000000000000000000" pitchFamily="2" charset="2"/>
              <a:buChar char="§"/>
            </a:lvl1pPr>
            <a:lvl2pPr marL="381600" indent="-190800" algn="l" defTabSz="914400" rtl="0" eaLnBrk="1" latinLnBrk="0" hangingPunct="1">
              <a:buClr>
                <a:srgbClr val="7F7F7F"/>
              </a:buClr>
              <a:buFont typeface="BMW Group Condensed" panose="020B0606020202020204" pitchFamily="34" charset="0"/>
              <a:buChar char="-"/>
            </a:lvl2pPr>
            <a:lvl3pPr marL="572400" indent="-190800" algn="l" defTabSz="914400" rtl="0" eaLnBrk="1" latinLnBrk="0" hangingPunct="1">
              <a:buClr>
                <a:srgbClr val="7F7F7F"/>
              </a:buClr>
              <a:buFont typeface="BMW Group Condensed" panose="020B0606020202020204" pitchFamily="34" charset="0"/>
              <a:buChar char="-"/>
            </a:lvl3pPr>
            <a:lvl4pPr marL="763200" indent="-190800" algn="l" defTabSz="914400" rtl="0" eaLnBrk="1" latinLnBrk="0" hangingPunct="1">
              <a:buClr>
                <a:srgbClr val="7F7F7F"/>
              </a:buClr>
              <a:buFont typeface="BMW Group Condensed" panose="020B0606020202020204" pitchFamily="34" charset="0"/>
              <a:buChar char="-"/>
            </a:lvl4pPr>
            <a:lvl5pPr marL="954000" indent="-190800" algn="l" defTabSz="914400" rtl="0" eaLnBrk="1" latinLnBrk="0" hangingPunct="1">
              <a:buClr>
                <a:srgbClr val="7F7F7F"/>
              </a:buClr>
              <a:buFont typeface="BMW Group Condensed" panose="020B0606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a:lnSpc>
                <a:spcPct val="95000"/>
              </a:lnSpc>
              <a:spcAft>
                <a:spcPts val="800"/>
              </a:spcAft>
              <a:defRPr/>
            </a:pPr>
            <a:r>
              <a:rPr lang="en-GB" noProof="1"/>
              <a:t>This is a placeholder text. This text can be replaced with your own text.</a:t>
            </a:r>
          </a:p>
          <a:p>
            <a:pPr>
              <a:lnSpc>
                <a:spcPct val="95000"/>
              </a:lnSpc>
              <a:spcAft>
                <a:spcPts val="800"/>
              </a:spcAft>
              <a:defRPr/>
            </a:pPr>
            <a:r>
              <a:rPr lang="en-GB" noProof="1"/>
              <a:t>The text demonstrates how your own text will look when you replace the placeholder with your own text.</a:t>
            </a:r>
          </a:p>
          <a:p>
            <a:pPr>
              <a:lnSpc>
                <a:spcPct val="95000"/>
              </a:lnSpc>
              <a:spcAft>
                <a:spcPts val="800"/>
              </a:spcAft>
              <a:defRPr/>
            </a:pPr>
            <a:r>
              <a:rPr lang="en-GB" noProof="1"/>
              <a:t>If you don’t want to use the style and size of the fonts as used in this placeholder it’s possible to replace it by selecting different options.</a:t>
            </a:r>
          </a:p>
        </p:txBody>
      </p:sp>
    </p:spTree>
    <p:custDataLst>
      <p:tags r:id="rId1"/>
    </p:custDataLst>
    <p:extLst>
      <p:ext uri="{BB962C8B-B14F-4D97-AF65-F5344CB8AC3E}">
        <p14:creationId xmlns:p14="http://schemas.microsoft.com/office/powerpoint/2010/main" val="3922397303"/>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D24CBA0-2983-496E-A3BB-9FD7392B03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4" name="Objekt 3" hidden="1">
                        <a:extLst>
                          <a:ext uri="{FF2B5EF4-FFF2-40B4-BE49-F238E27FC236}">
                            <a16:creationId xmlns:a16="http://schemas.microsoft.com/office/drawing/2014/main" id="{DD24CBA0-2983-496E-A3BB-9FD7392B03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F8E2BDE-227E-4C69-B60E-7B0EC7042B0B}"/>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40963" name="_h1"/>
          <p:cNvSpPr>
            <a:spLocks noGrp="1" noChangeArrowheads="1"/>
          </p:cNvSpPr>
          <p:nvPr>
            <p:ph type="title"/>
          </p:nvPr>
        </p:nvSpPr>
        <p:spPr>
          <a:xfrm>
            <a:off x="488947" y="347184"/>
            <a:ext cx="11224684" cy="372090"/>
          </a:xfrm>
        </p:spPr>
        <p:txBody>
          <a:bodyPr/>
          <a:lstStyle/>
          <a:p>
            <a:r>
              <a:rPr lang="en-GB" altLang="de-DE" noProof="1"/>
              <a:t>Looping Circle Charts.</a:t>
            </a:r>
            <a:br>
              <a:rPr lang="en-GB" altLang="de-DE" noProof="1"/>
            </a:br>
            <a:r>
              <a:rPr lang="en-GB" altLang="de-DE" noProof="1"/>
              <a:t>3 Circles.</a:t>
            </a:r>
            <a:endParaRPr lang="en-GB" noProof="1"/>
          </a:p>
        </p:txBody>
      </p:sp>
      <p:grpSp>
        <p:nvGrpSpPr>
          <p:cNvPr id="2" name="Gruppieren 1"/>
          <p:cNvGrpSpPr/>
          <p:nvPr/>
        </p:nvGrpSpPr>
        <p:grpSpPr>
          <a:xfrm>
            <a:off x="513110" y="2666645"/>
            <a:ext cx="11200524" cy="2823183"/>
            <a:chOff x="513110" y="2666645"/>
            <a:chExt cx="11200524" cy="2823183"/>
          </a:xfrm>
        </p:grpSpPr>
        <p:sp>
          <p:nvSpPr>
            <p:cNvPr id="107" name="Rectangle 222"/>
            <p:cNvSpPr>
              <a:spLocks noChangeArrowheads="1"/>
            </p:cNvSpPr>
            <p:nvPr/>
          </p:nvSpPr>
          <p:spPr bwMode="auto">
            <a:xfrm>
              <a:off x="513110" y="5218870"/>
              <a:ext cx="2731301" cy="245827"/>
            </a:xfrm>
            <a:prstGeom prst="rect">
              <a:avLst/>
            </a:prstGeom>
            <a:solidFill>
              <a:schemeClr val="accent1">
                <a:lumMod val="75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08" name="Freeform 223"/>
            <p:cNvSpPr>
              <a:spLocks/>
            </p:cNvSpPr>
            <p:nvPr/>
          </p:nvSpPr>
          <p:spPr bwMode="auto">
            <a:xfrm>
              <a:off x="3191247" y="2666660"/>
              <a:ext cx="1456694" cy="2093775"/>
            </a:xfrm>
            <a:custGeom>
              <a:avLst/>
              <a:gdLst>
                <a:gd name="T0" fmla="*/ 21 w 464"/>
                <a:gd name="T1" fmla="*/ 0 h 671"/>
                <a:gd name="T2" fmla="*/ 18 w 464"/>
                <a:gd name="T3" fmla="*/ 0 h 671"/>
                <a:gd name="T4" fmla="*/ 0 w 464"/>
                <a:gd name="T5" fmla="*/ 40 h 671"/>
                <a:gd name="T6" fmla="*/ 18 w 464"/>
                <a:gd name="T7" fmla="*/ 78 h 671"/>
                <a:gd name="T8" fmla="*/ 21 w 464"/>
                <a:gd name="T9" fmla="*/ 78 h 671"/>
                <a:gd name="T10" fmla="*/ 386 w 464"/>
                <a:gd name="T11" fmla="*/ 447 h 671"/>
                <a:gd name="T12" fmla="*/ 336 w 464"/>
                <a:gd name="T13" fmla="*/ 632 h 671"/>
                <a:gd name="T14" fmla="*/ 378 w 464"/>
                <a:gd name="T15" fmla="*/ 636 h 671"/>
                <a:gd name="T16" fmla="*/ 404 w 464"/>
                <a:gd name="T17" fmla="*/ 671 h 671"/>
                <a:gd name="T18" fmla="*/ 464 w 464"/>
                <a:gd name="T19" fmla="*/ 447 h 671"/>
                <a:gd name="T20" fmla="*/ 21 w 46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4" h="671">
                  <a:moveTo>
                    <a:pt x="21" y="0"/>
                  </a:moveTo>
                  <a:cubicBezTo>
                    <a:pt x="20" y="0"/>
                    <a:pt x="19" y="0"/>
                    <a:pt x="18" y="0"/>
                  </a:cubicBezTo>
                  <a:cubicBezTo>
                    <a:pt x="0" y="40"/>
                    <a:pt x="0" y="40"/>
                    <a:pt x="0" y="40"/>
                  </a:cubicBezTo>
                  <a:cubicBezTo>
                    <a:pt x="18" y="78"/>
                    <a:pt x="18" y="78"/>
                    <a:pt x="18" y="78"/>
                  </a:cubicBezTo>
                  <a:cubicBezTo>
                    <a:pt x="19" y="78"/>
                    <a:pt x="20" y="78"/>
                    <a:pt x="21" y="78"/>
                  </a:cubicBezTo>
                  <a:cubicBezTo>
                    <a:pt x="223" y="80"/>
                    <a:pt x="386" y="245"/>
                    <a:pt x="386" y="447"/>
                  </a:cubicBezTo>
                  <a:cubicBezTo>
                    <a:pt x="386" y="515"/>
                    <a:pt x="368" y="578"/>
                    <a:pt x="336" y="632"/>
                  </a:cubicBezTo>
                  <a:cubicBezTo>
                    <a:pt x="378" y="636"/>
                    <a:pt x="378" y="636"/>
                    <a:pt x="378" y="636"/>
                  </a:cubicBezTo>
                  <a:cubicBezTo>
                    <a:pt x="404" y="671"/>
                    <a:pt x="404" y="671"/>
                    <a:pt x="404" y="671"/>
                  </a:cubicBezTo>
                  <a:cubicBezTo>
                    <a:pt x="442" y="605"/>
                    <a:pt x="464" y="529"/>
                    <a:pt x="464" y="447"/>
                  </a:cubicBezTo>
                  <a:cubicBezTo>
                    <a:pt x="464" y="202"/>
                    <a:pt x="266" y="2"/>
                    <a:pt x="21" y="0"/>
                  </a:cubicBezTo>
                  <a:close/>
                </a:path>
              </a:pathLst>
            </a:custGeom>
            <a:solidFill>
              <a:schemeClr val="accent1">
                <a:lumMod val="75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09" name="Freeform 224"/>
            <p:cNvSpPr>
              <a:spLocks/>
            </p:cNvSpPr>
            <p:nvPr/>
          </p:nvSpPr>
          <p:spPr bwMode="auto">
            <a:xfrm>
              <a:off x="3240423" y="4642174"/>
              <a:ext cx="1214797" cy="822523"/>
            </a:xfrm>
            <a:custGeom>
              <a:avLst/>
              <a:gdLst>
                <a:gd name="T0" fmla="*/ 361 w 387"/>
                <a:gd name="T1" fmla="*/ 4 h 262"/>
                <a:gd name="T2" fmla="*/ 319 w 387"/>
                <a:gd name="T3" fmla="*/ 0 h 262"/>
                <a:gd name="T4" fmla="*/ 318 w 387"/>
                <a:gd name="T5" fmla="*/ 3 h 262"/>
                <a:gd name="T6" fmla="*/ 0 w 387"/>
                <a:gd name="T7" fmla="*/ 184 h 262"/>
                <a:gd name="T8" fmla="*/ 0 w 387"/>
                <a:gd name="T9" fmla="*/ 262 h 262"/>
                <a:gd name="T10" fmla="*/ 252 w 387"/>
                <a:gd name="T11" fmla="*/ 184 h 262"/>
                <a:gd name="T12" fmla="*/ 385 w 387"/>
                <a:gd name="T13" fmla="*/ 42 h 262"/>
                <a:gd name="T14" fmla="*/ 387 w 387"/>
                <a:gd name="T15" fmla="*/ 39 h 262"/>
                <a:gd name="T16" fmla="*/ 361 w 387"/>
                <a:gd name="T17" fmla="*/ 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262">
                  <a:moveTo>
                    <a:pt x="361" y="4"/>
                  </a:moveTo>
                  <a:cubicBezTo>
                    <a:pt x="319" y="0"/>
                    <a:pt x="319" y="0"/>
                    <a:pt x="319" y="0"/>
                  </a:cubicBezTo>
                  <a:cubicBezTo>
                    <a:pt x="319" y="1"/>
                    <a:pt x="318" y="2"/>
                    <a:pt x="318" y="3"/>
                  </a:cubicBezTo>
                  <a:cubicBezTo>
                    <a:pt x="253" y="111"/>
                    <a:pt x="135" y="184"/>
                    <a:pt x="0" y="184"/>
                  </a:cubicBezTo>
                  <a:cubicBezTo>
                    <a:pt x="0" y="262"/>
                    <a:pt x="0" y="262"/>
                    <a:pt x="0" y="262"/>
                  </a:cubicBezTo>
                  <a:cubicBezTo>
                    <a:pt x="93" y="262"/>
                    <a:pt x="180" y="233"/>
                    <a:pt x="252" y="184"/>
                  </a:cubicBezTo>
                  <a:cubicBezTo>
                    <a:pt x="306" y="147"/>
                    <a:pt x="352" y="98"/>
                    <a:pt x="385" y="42"/>
                  </a:cubicBezTo>
                  <a:cubicBezTo>
                    <a:pt x="386" y="41"/>
                    <a:pt x="386" y="40"/>
                    <a:pt x="387" y="39"/>
                  </a:cubicBezTo>
                  <a:lnTo>
                    <a:pt x="361" y="4"/>
                  </a:lnTo>
                  <a:close/>
                </a:path>
              </a:pathLst>
            </a:custGeom>
            <a:solidFill>
              <a:schemeClr val="accent1">
                <a:lumMod val="75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10" name="Freeform 225"/>
            <p:cNvSpPr>
              <a:spLocks/>
            </p:cNvSpPr>
            <p:nvPr/>
          </p:nvSpPr>
          <p:spPr bwMode="auto">
            <a:xfrm>
              <a:off x="1840881" y="2666645"/>
              <a:ext cx="1407517" cy="2091134"/>
            </a:xfrm>
            <a:custGeom>
              <a:avLst/>
              <a:gdLst>
                <a:gd name="T0" fmla="*/ 430 w 448"/>
                <a:gd name="T1" fmla="*/ 40 h 670"/>
                <a:gd name="T2" fmla="*/ 448 w 448"/>
                <a:gd name="T3" fmla="*/ 0 h 670"/>
                <a:gd name="T4" fmla="*/ 447 w 448"/>
                <a:gd name="T5" fmla="*/ 0 h 670"/>
                <a:gd name="T6" fmla="*/ 0 w 448"/>
                <a:gd name="T7" fmla="*/ 447 h 670"/>
                <a:gd name="T8" fmla="*/ 58 w 448"/>
                <a:gd name="T9" fmla="*/ 667 h 670"/>
                <a:gd name="T10" fmla="*/ 59 w 448"/>
                <a:gd name="T11" fmla="*/ 670 h 670"/>
                <a:gd name="T12" fmla="*/ 101 w 448"/>
                <a:gd name="T13" fmla="*/ 666 h 670"/>
                <a:gd name="T14" fmla="*/ 127 w 448"/>
                <a:gd name="T15" fmla="*/ 631 h 670"/>
                <a:gd name="T16" fmla="*/ 125 w 448"/>
                <a:gd name="T17" fmla="*/ 628 h 670"/>
                <a:gd name="T18" fmla="*/ 78 w 448"/>
                <a:gd name="T19" fmla="*/ 447 h 670"/>
                <a:gd name="T20" fmla="*/ 447 w 448"/>
                <a:gd name="T21" fmla="*/ 78 h 670"/>
                <a:gd name="T22" fmla="*/ 448 w 448"/>
                <a:gd name="T23" fmla="*/ 78 h 670"/>
                <a:gd name="T24" fmla="*/ 430 w 448"/>
                <a:gd name="T25" fmla="*/ 4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670">
                  <a:moveTo>
                    <a:pt x="430" y="40"/>
                  </a:moveTo>
                  <a:cubicBezTo>
                    <a:pt x="448" y="0"/>
                    <a:pt x="448" y="0"/>
                    <a:pt x="448" y="0"/>
                  </a:cubicBezTo>
                  <a:cubicBezTo>
                    <a:pt x="447" y="0"/>
                    <a:pt x="447" y="0"/>
                    <a:pt x="447" y="0"/>
                  </a:cubicBezTo>
                  <a:cubicBezTo>
                    <a:pt x="200" y="0"/>
                    <a:pt x="0" y="200"/>
                    <a:pt x="0" y="447"/>
                  </a:cubicBezTo>
                  <a:cubicBezTo>
                    <a:pt x="0" y="527"/>
                    <a:pt x="21" y="602"/>
                    <a:pt x="58" y="667"/>
                  </a:cubicBezTo>
                  <a:cubicBezTo>
                    <a:pt x="58" y="668"/>
                    <a:pt x="59" y="669"/>
                    <a:pt x="59" y="670"/>
                  </a:cubicBezTo>
                  <a:cubicBezTo>
                    <a:pt x="101" y="666"/>
                    <a:pt x="101" y="666"/>
                    <a:pt x="101" y="666"/>
                  </a:cubicBezTo>
                  <a:cubicBezTo>
                    <a:pt x="127" y="631"/>
                    <a:pt x="127" y="631"/>
                    <a:pt x="127" y="631"/>
                  </a:cubicBezTo>
                  <a:cubicBezTo>
                    <a:pt x="126" y="630"/>
                    <a:pt x="126" y="629"/>
                    <a:pt x="125" y="628"/>
                  </a:cubicBezTo>
                  <a:cubicBezTo>
                    <a:pt x="95" y="575"/>
                    <a:pt x="78" y="513"/>
                    <a:pt x="78" y="447"/>
                  </a:cubicBezTo>
                  <a:cubicBezTo>
                    <a:pt x="78" y="243"/>
                    <a:pt x="243" y="78"/>
                    <a:pt x="447" y="78"/>
                  </a:cubicBezTo>
                  <a:cubicBezTo>
                    <a:pt x="447" y="78"/>
                    <a:pt x="448" y="78"/>
                    <a:pt x="448" y="78"/>
                  </a:cubicBezTo>
                  <a:lnTo>
                    <a:pt x="430" y="40"/>
                  </a:lnTo>
                  <a:close/>
                </a:path>
              </a:pathLst>
            </a:custGeom>
            <a:solidFill>
              <a:schemeClr val="accent1">
                <a:lumMod val="75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11" name="Freeform 226"/>
            <p:cNvSpPr>
              <a:spLocks/>
            </p:cNvSpPr>
            <p:nvPr/>
          </p:nvSpPr>
          <p:spPr bwMode="auto">
            <a:xfrm>
              <a:off x="2026955" y="4638187"/>
              <a:ext cx="3946098" cy="826510"/>
            </a:xfrm>
            <a:custGeom>
              <a:avLst/>
              <a:gdLst>
                <a:gd name="T0" fmla="*/ 1239 w 1257"/>
                <a:gd name="T1" fmla="*/ 185 h 263"/>
                <a:gd name="T2" fmla="*/ 388 w 1257"/>
                <a:gd name="T3" fmla="*/ 185 h 263"/>
                <a:gd name="T4" fmla="*/ 68 w 1257"/>
                <a:gd name="T5" fmla="*/ 0 h 263"/>
                <a:gd name="T6" fmla="*/ 42 w 1257"/>
                <a:gd name="T7" fmla="*/ 35 h 263"/>
                <a:gd name="T8" fmla="*/ 0 w 1257"/>
                <a:gd name="T9" fmla="*/ 39 h 263"/>
                <a:gd name="T10" fmla="*/ 388 w 1257"/>
                <a:gd name="T11" fmla="*/ 263 h 263"/>
                <a:gd name="T12" fmla="*/ 1239 w 1257"/>
                <a:gd name="T13" fmla="*/ 263 h 263"/>
                <a:gd name="T14" fmla="*/ 1257 w 1257"/>
                <a:gd name="T15" fmla="*/ 225 h 263"/>
                <a:gd name="T16" fmla="*/ 1239 w 1257"/>
                <a:gd name="T17" fmla="*/ 185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7" h="263">
                  <a:moveTo>
                    <a:pt x="1239" y="185"/>
                  </a:moveTo>
                  <a:cubicBezTo>
                    <a:pt x="388" y="185"/>
                    <a:pt x="388" y="185"/>
                    <a:pt x="388" y="185"/>
                  </a:cubicBezTo>
                  <a:cubicBezTo>
                    <a:pt x="251" y="185"/>
                    <a:pt x="131" y="111"/>
                    <a:pt x="68" y="0"/>
                  </a:cubicBezTo>
                  <a:cubicBezTo>
                    <a:pt x="42" y="35"/>
                    <a:pt x="42" y="35"/>
                    <a:pt x="42" y="35"/>
                  </a:cubicBezTo>
                  <a:cubicBezTo>
                    <a:pt x="0" y="39"/>
                    <a:pt x="0" y="39"/>
                    <a:pt x="0" y="39"/>
                  </a:cubicBezTo>
                  <a:cubicBezTo>
                    <a:pt x="77" y="173"/>
                    <a:pt x="222" y="263"/>
                    <a:pt x="388" y="263"/>
                  </a:cubicBezTo>
                  <a:cubicBezTo>
                    <a:pt x="1239" y="263"/>
                    <a:pt x="1239" y="263"/>
                    <a:pt x="1239" y="263"/>
                  </a:cubicBezTo>
                  <a:cubicBezTo>
                    <a:pt x="1257" y="225"/>
                    <a:pt x="1257" y="225"/>
                    <a:pt x="1257" y="225"/>
                  </a:cubicBezTo>
                  <a:lnTo>
                    <a:pt x="1239" y="185"/>
                  </a:lnTo>
                  <a:close/>
                </a:path>
              </a:pathLst>
            </a:custGeom>
            <a:solidFill>
              <a:schemeClr val="accent1">
                <a:lumMod val="75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02" name="Freeform 229"/>
            <p:cNvSpPr>
              <a:spLocks/>
            </p:cNvSpPr>
            <p:nvPr/>
          </p:nvSpPr>
          <p:spPr bwMode="auto">
            <a:xfrm>
              <a:off x="5114375" y="2666661"/>
              <a:ext cx="1981246" cy="586414"/>
            </a:xfrm>
            <a:custGeom>
              <a:avLst/>
              <a:gdLst>
                <a:gd name="T0" fmla="*/ 315 w 632"/>
                <a:gd name="T1" fmla="*/ 0 h 187"/>
                <a:gd name="T2" fmla="*/ 2 w 632"/>
                <a:gd name="T3" fmla="*/ 128 h 187"/>
                <a:gd name="T4" fmla="*/ 0 w 632"/>
                <a:gd name="T5" fmla="*/ 130 h 187"/>
                <a:gd name="T6" fmla="*/ 16 w 632"/>
                <a:gd name="T7" fmla="*/ 171 h 187"/>
                <a:gd name="T8" fmla="*/ 55 w 632"/>
                <a:gd name="T9" fmla="*/ 185 h 187"/>
                <a:gd name="T10" fmla="*/ 57 w 632"/>
                <a:gd name="T11" fmla="*/ 183 h 187"/>
                <a:gd name="T12" fmla="*/ 315 w 632"/>
                <a:gd name="T13" fmla="*/ 78 h 187"/>
                <a:gd name="T14" fmla="*/ 577 w 632"/>
                <a:gd name="T15" fmla="*/ 187 h 187"/>
                <a:gd name="T16" fmla="*/ 592 w 632"/>
                <a:gd name="T17" fmla="*/ 146 h 187"/>
                <a:gd name="T18" fmla="*/ 632 w 632"/>
                <a:gd name="T19" fmla="*/ 132 h 187"/>
                <a:gd name="T20" fmla="*/ 315 w 632"/>
                <a:gd name="T21"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2" h="187">
                  <a:moveTo>
                    <a:pt x="315" y="0"/>
                  </a:moveTo>
                  <a:cubicBezTo>
                    <a:pt x="193" y="0"/>
                    <a:pt x="83" y="49"/>
                    <a:pt x="2" y="128"/>
                  </a:cubicBezTo>
                  <a:cubicBezTo>
                    <a:pt x="1" y="129"/>
                    <a:pt x="1" y="129"/>
                    <a:pt x="0" y="130"/>
                  </a:cubicBezTo>
                  <a:cubicBezTo>
                    <a:pt x="16" y="171"/>
                    <a:pt x="16" y="171"/>
                    <a:pt x="16" y="171"/>
                  </a:cubicBezTo>
                  <a:cubicBezTo>
                    <a:pt x="55" y="185"/>
                    <a:pt x="55" y="185"/>
                    <a:pt x="55" y="185"/>
                  </a:cubicBezTo>
                  <a:cubicBezTo>
                    <a:pt x="56" y="184"/>
                    <a:pt x="56" y="184"/>
                    <a:pt x="57" y="183"/>
                  </a:cubicBezTo>
                  <a:cubicBezTo>
                    <a:pt x="124" y="118"/>
                    <a:pt x="215" y="78"/>
                    <a:pt x="315" y="78"/>
                  </a:cubicBezTo>
                  <a:cubicBezTo>
                    <a:pt x="417" y="78"/>
                    <a:pt x="510" y="120"/>
                    <a:pt x="577" y="187"/>
                  </a:cubicBezTo>
                  <a:cubicBezTo>
                    <a:pt x="592" y="146"/>
                    <a:pt x="592" y="146"/>
                    <a:pt x="592" y="146"/>
                  </a:cubicBezTo>
                  <a:cubicBezTo>
                    <a:pt x="632" y="132"/>
                    <a:pt x="632" y="132"/>
                    <a:pt x="632" y="132"/>
                  </a:cubicBezTo>
                  <a:cubicBezTo>
                    <a:pt x="551" y="50"/>
                    <a:pt x="439" y="0"/>
                    <a:pt x="315" y="0"/>
                  </a:cubicBezTo>
                  <a:close/>
                </a:path>
              </a:pathLst>
            </a:custGeom>
            <a:solidFill>
              <a:schemeClr val="accent1"/>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03" name="Freeform 230"/>
            <p:cNvSpPr>
              <a:spLocks/>
            </p:cNvSpPr>
            <p:nvPr/>
          </p:nvSpPr>
          <p:spPr bwMode="auto">
            <a:xfrm>
              <a:off x="4705979" y="3075057"/>
              <a:ext cx="586415" cy="1983337"/>
            </a:xfrm>
            <a:custGeom>
              <a:avLst/>
              <a:gdLst>
                <a:gd name="T0" fmla="*/ 78 w 187"/>
                <a:gd name="T1" fmla="*/ 317 h 632"/>
                <a:gd name="T2" fmla="*/ 187 w 187"/>
                <a:gd name="T3" fmla="*/ 55 h 632"/>
                <a:gd name="T4" fmla="*/ 148 w 187"/>
                <a:gd name="T5" fmla="*/ 41 h 632"/>
                <a:gd name="T6" fmla="*/ 132 w 187"/>
                <a:gd name="T7" fmla="*/ 0 h 632"/>
                <a:gd name="T8" fmla="*/ 0 w 187"/>
                <a:gd name="T9" fmla="*/ 317 h 632"/>
                <a:gd name="T10" fmla="*/ 128 w 187"/>
                <a:gd name="T11" fmla="*/ 630 h 632"/>
                <a:gd name="T12" fmla="*/ 130 w 187"/>
                <a:gd name="T13" fmla="*/ 632 h 632"/>
                <a:gd name="T14" fmla="*/ 170 w 187"/>
                <a:gd name="T15" fmla="*/ 618 h 632"/>
                <a:gd name="T16" fmla="*/ 185 w 187"/>
                <a:gd name="T17" fmla="*/ 577 h 632"/>
                <a:gd name="T18" fmla="*/ 184 w 187"/>
                <a:gd name="T19" fmla="*/ 575 h 632"/>
                <a:gd name="T20" fmla="*/ 78 w 187"/>
                <a:gd name="T21" fmla="*/ 317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632">
                  <a:moveTo>
                    <a:pt x="78" y="317"/>
                  </a:moveTo>
                  <a:cubicBezTo>
                    <a:pt x="78" y="215"/>
                    <a:pt x="120" y="122"/>
                    <a:pt x="187" y="55"/>
                  </a:cubicBezTo>
                  <a:cubicBezTo>
                    <a:pt x="148" y="41"/>
                    <a:pt x="148" y="41"/>
                    <a:pt x="148" y="41"/>
                  </a:cubicBezTo>
                  <a:cubicBezTo>
                    <a:pt x="132" y="0"/>
                    <a:pt x="132" y="0"/>
                    <a:pt x="132" y="0"/>
                  </a:cubicBezTo>
                  <a:cubicBezTo>
                    <a:pt x="50" y="81"/>
                    <a:pt x="0" y="193"/>
                    <a:pt x="0" y="317"/>
                  </a:cubicBezTo>
                  <a:cubicBezTo>
                    <a:pt x="0" y="439"/>
                    <a:pt x="49" y="550"/>
                    <a:pt x="128" y="630"/>
                  </a:cubicBezTo>
                  <a:cubicBezTo>
                    <a:pt x="129" y="631"/>
                    <a:pt x="130" y="632"/>
                    <a:pt x="130" y="632"/>
                  </a:cubicBezTo>
                  <a:cubicBezTo>
                    <a:pt x="170" y="618"/>
                    <a:pt x="170" y="618"/>
                    <a:pt x="170" y="618"/>
                  </a:cubicBezTo>
                  <a:cubicBezTo>
                    <a:pt x="185" y="577"/>
                    <a:pt x="185" y="577"/>
                    <a:pt x="185" y="577"/>
                  </a:cubicBezTo>
                  <a:cubicBezTo>
                    <a:pt x="185" y="576"/>
                    <a:pt x="184" y="576"/>
                    <a:pt x="184" y="575"/>
                  </a:cubicBezTo>
                  <a:cubicBezTo>
                    <a:pt x="118" y="509"/>
                    <a:pt x="78" y="418"/>
                    <a:pt x="78" y="317"/>
                  </a:cubicBezTo>
                  <a:close/>
                </a:path>
              </a:pathLst>
            </a:custGeom>
            <a:solidFill>
              <a:schemeClr val="accent1"/>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04" name="Freeform 231"/>
            <p:cNvSpPr>
              <a:spLocks/>
            </p:cNvSpPr>
            <p:nvPr/>
          </p:nvSpPr>
          <p:spPr bwMode="auto">
            <a:xfrm>
              <a:off x="6930168" y="3081340"/>
              <a:ext cx="588510" cy="1985432"/>
            </a:xfrm>
            <a:custGeom>
              <a:avLst/>
              <a:gdLst>
                <a:gd name="T0" fmla="*/ 59 w 187"/>
                <a:gd name="T1" fmla="*/ 2 h 632"/>
                <a:gd name="T2" fmla="*/ 57 w 187"/>
                <a:gd name="T3" fmla="*/ 0 h 632"/>
                <a:gd name="T4" fmla="*/ 17 w 187"/>
                <a:gd name="T5" fmla="*/ 14 h 632"/>
                <a:gd name="T6" fmla="*/ 2 w 187"/>
                <a:gd name="T7" fmla="*/ 55 h 632"/>
                <a:gd name="T8" fmla="*/ 3 w 187"/>
                <a:gd name="T9" fmla="*/ 57 h 632"/>
                <a:gd name="T10" fmla="*/ 109 w 187"/>
                <a:gd name="T11" fmla="*/ 315 h 632"/>
                <a:gd name="T12" fmla="*/ 0 w 187"/>
                <a:gd name="T13" fmla="*/ 577 h 632"/>
                <a:gd name="T14" fmla="*/ 40 w 187"/>
                <a:gd name="T15" fmla="*/ 591 h 632"/>
                <a:gd name="T16" fmla="*/ 55 w 187"/>
                <a:gd name="T17" fmla="*/ 632 h 632"/>
                <a:gd name="T18" fmla="*/ 187 w 187"/>
                <a:gd name="T19" fmla="*/ 315 h 632"/>
                <a:gd name="T20" fmla="*/ 59 w 187"/>
                <a:gd name="T21" fmla="*/ 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632">
                  <a:moveTo>
                    <a:pt x="59" y="2"/>
                  </a:moveTo>
                  <a:cubicBezTo>
                    <a:pt x="58" y="1"/>
                    <a:pt x="57" y="0"/>
                    <a:pt x="57" y="0"/>
                  </a:cubicBezTo>
                  <a:cubicBezTo>
                    <a:pt x="17" y="14"/>
                    <a:pt x="17" y="14"/>
                    <a:pt x="17" y="14"/>
                  </a:cubicBezTo>
                  <a:cubicBezTo>
                    <a:pt x="2" y="55"/>
                    <a:pt x="2" y="55"/>
                    <a:pt x="2" y="55"/>
                  </a:cubicBezTo>
                  <a:cubicBezTo>
                    <a:pt x="2" y="55"/>
                    <a:pt x="3" y="56"/>
                    <a:pt x="3" y="57"/>
                  </a:cubicBezTo>
                  <a:cubicBezTo>
                    <a:pt x="69" y="123"/>
                    <a:pt x="109" y="214"/>
                    <a:pt x="109" y="315"/>
                  </a:cubicBezTo>
                  <a:cubicBezTo>
                    <a:pt x="109" y="417"/>
                    <a:pt x="67" y="510"/>
                    <a:pt x="0" y="577"/>
                  </a:cubicBezTo>
                  <a:cubicBezTo>
                    <a:pt x="40" y="591"/>
                    <a:pt x="40" y="591"/>
                    <a:pt x="40" y="591"/>
                  </a:cubicBezTo>
                  <a:cubicBezTo>
                    <a:pt x="55" y="632"/>
                    <a:pt x="55" y="632"/>
                    <a:pt x="55" y="632"/>
                  </a:cubicBezTo>
                  <a:cubicBezTo>
                    <a:pt x="137" y="551"/>
                    <a:pt x="187" y="439"/>
                    <a:pt x="187" y="315"/>
                  </a:cubicBezTo>
                  <a:cubicBezTo>
                    <a:pt x="187" y="193"/>
                    <a:pt x="138" y="82"/>
                    <a:pt x="59" y="2"/>
                  </a:cubicBezTo>
                  <a:close/>
                </a:path>
              </a:pathLst>
            </a:custGeom>
            <a:solidFill>
              <a:schemeClr val="accent1"/>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05" name="Freeform 232"/>
            <p:cNvSpPr>
              <a:spLocks/>
            </p:cNvSpPr>
            <p:nvPr/>
          </p:nvSpPr>
          <p:spPr bwMode="auto">
            <a:xfrm>
              <a:off x="6107093" y="4892942"/>
              <a:ext cx="988529" cy="580131"/>
            </a:xfrm>
            <a:custGeom>
              <a:avLst/>
              <a:gdLst>
                <a:gd name="T0" fmla="*/ 300 w 315"/>
                <a:gd name="T1" fmla="*/ 14 h 185"/>
                <a:gd name="T2" fmla="*/ 260 w 315"/>
                <a:gd name="T3" fmla="*/ 0 h 185"/>
                <a:gd name="T4" fmla="*/ 258 w 315"/>
                <a:gd name="T5" fmla="*/ 1 h 185"/>
                <a:gd name="T6" fmla="*/ 0 w 315"/>
                <a:gd name="T7" fmla="*/ 107 h 185"/>
                <a:gd name="T8" fmla="*/ 0 w 315"/>
                <a:gd name="T9" fmla="*/ 185 h 185"/>
                <a:gd name="T10" fmla="*/ 252 w 315"/>
                <a:gd name="T11" fmla="*/ 107 h 185"/>
                <a:gd name="T12" fmla="*/ 313 w 315"/>
                <a:gd name="T13" fmla="*/ 57 h 185"/>
                <a:gd name="T14" fmla="*/ 315 w 315"/>
                <a:gd name="T15" fmla="*/ 55 h 185"/>
                <a:gd name="T16" fmla="*/ 300 w 315"/>
                <a:gd name="T17" fmla="*/ 1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185">
                  <a:moveTo>
                    <a:pt x="300" y="14"/>
                  </a:moveTo>
                  <a:cubicBezTo>
                    <a:pt x="260" y="0"/>
                    <a:pt x="260" y="0"/>
                    <a:pt x="260" y="0"/>
                  </a:cubicBezTo>
                  <a:cubicBezTo>
                    <a:pt x="260" y="0"/>
                    <a:pt x="259" y="1"/>
                    <a:pt x="258" y="1"/>
                  </a:cubicBezTo>
                  <a:cubicBezTo>
                    <a:pt x="192" y="67"/>
                    <a:pt x="101" y="107"/>
                    <a:pt x="0" y="107"/>
                  </a:cubicBezTo>
                  <a:cubicBezTo>
                    <a:pt x="0" y="185"/>
                    <a:pt x="0" y="185"/>
                    <a:pt x="0" y="185"/>
                  </a:cubicBezTo>
                  <a:cubicBezTo>
                    <a:pt x="94" y="185"/>
                    <a:pt x="181" y="156"/>
                    <a:pt x="252" y="107"/>
                  </a:cubicBezTo>
                  <a:cubicBezTo>
                    <a:pt x="274" y="92"/>
                    <a:pt x="295" y="75"/>
                    <a:pt x="313" y="57"/>
                  </a:cubicBezTo>
                  <a:cubicBezTo>
                    <a:pt x="314" y="56"/>
                    <a:pt x="315" y="55"/>
                    <a:pt x="315" y="55"/>
                  </a:cubicBezTo>
                  <a:lnTo>
                    <a:pt x="300" y="14"/>
                  </a:lnTo>
                  <a:close/>
                </a:path>
              </a:pathLst>
            </a:custGeom>
            <a:solidFill>
              <a:schemeClr val="accent1"/>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06" name="Freeform 233"/>
            <p:cNvSpPr>
              <a:spLocks/>
            </p:cNvSpPr>
            <p:nvPr/>
          </p:nvSpPr>
          <p:spPr bwMode="auto">
            <a:xfrm>
              <a:off x="5118564" y="4886659"/>
              <a:ext cx="3725831" cy="586414"/>
            </a:xfrm>
            <a:custGeom>
              <a:avLst/>
              <a:gdLst>
                <a:gd name="T0" fmla="*/ 1169 w 1187"/>
                <a:gd name="T1" fmla="*/ 109 h 187"/>
                <a:gd name="T2" fmla="*/ 317 w 1187"/>
                <a:gd name="T3" fmla="*/ 109 h 187"/>
                <a:gd name="T4" fmla="*/ 55 w 1187"/>
                <a:gd name="T5" fmla="*/ 0 h 187"/>
                <a:gd name="T6" fmla="*/ 40 w 1187"/>
                <a:gd name="T7" fmla="*/ 41 h 187"/>
                <a:gd name="T8" fmla="*/ 0 w 1187"/>
                <a:gd name="T9" fmla="*/ 55 h 187"/>
                <a:gd name="T10" fmla="*/ 317 w 1187"/>
                <a:gd name="T11" fmla="*/ 187 h 187"/>
                <a:gd name="T12" fmla="*/ 1169 w 1187"/>
                <a:gd name="T13" fmla="*/ 187 h 187"/>
                <a:gd name="T14" fmla="*/ 1187 w 1187"/>
                <a:gd name="T15" fmla="*/ 149 h 187"/>
                <a:gd name="T16" fmla="*/ 1169 w 1187"/>
                <a:gd name="T17" fmla="*/ 10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7" h="187">
                  <a:moveTo>
                    <a:pt x="1169" y="109"/>
                  </a:moveTo>
                  <a:cubicBezTo>
                    <a:pt x="317" y="109"/>
                    <a:pt x="317" y="109"/>
                    <a:pt x="317" y="109"/>
                  </a:cubicBezTo>
                  <a:cubicBezTo>
                    <a:pt x="215" y="109"/>
                    <a:pt x="122" y="67"/>
                    <a:pt x="55" y="0"/>
                  </a:cubicBezTo>
                  <a:cubicBezTo>
                    <a:pt x="40" y="41"/>
                    <a:pt x="40" y="41"/>
                    <a:pt x="40" y="41"/>
                  </a:cubicBezTo>
                  <a:cubicBezTo>
                    <a:pt x="0" y="55"/>
                    <a:pt x="0" y="55"/>
                    <a:pt x="0" y="55"/>
                  </a:cubicBezTo>
                  <a:cubicBezTo>
                    <a:pt x="81" y="137"/>
                    <a:pt x="193" y="187"/>
                    <a:pt x="317" y="187"/>
                  </a:cubicBezTo>
                  <a:cubicBezTo>
                    <a:pt x="1169" y="187"/>
                    <a:pt x="1169" y="187"/>
                    <a:pt x="1169" y="187"/>
                  </a:cubicBezTo>
                  <a:cubicBezTo>
                    <a:pt x="1187" y="149"/>
                    <a:pt x="1187" y="149"/>
                    <a:pt x="1187" y="149"/>
                  </a:cubicBezTo>
                  <a:lnTo>
                    <a:pt x="1169" y="109"/>
                  </a:lnTo>
                  <a:close/>
                </a:path>
              </a:pathLst>
            </a:custGeom>
            <a:solidFill>
              <a:schemeClr val="accent1"/>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98" name="Freeform 237"/>
            <p:cNvSpPr>
              <a:spLocks/>
            </p:cNvSpPr>
            <p:nvPr/>
          </p:nvSpPr>
          <p:spPr bwMode="auto">
            <a:xfrm>
              <a:off x="8933158" y="2683416"/>
              <a:ext cx="1456693" cy="2107467"/>
            </a:xfrm>
            <a:custGeom>
              <a:avLst/>
              <a:gdLst>
                <a:gd name="T0" fmla="*/ 21 w 464"/>
                <a:gd name="T1" fmla="*/ 0 h 671"/>
                <a:gd name="T2" fmla="*/ 18 w 464"/>
                <a:gd name="T3" fmla="*/ 0 h 671"/>
                <a:gd name="T4" fmla="*/ 0 w 464"/>
                <a:gd name="T5" fmla="*/ 40 h 671"/>
                <a:gd name="T6" fmla="*/ 18 w 464"/>
                <a:gd name="T7" fmla="*/ 78 h 671"/>
                <a:gd name="T8" fmla="*/ 21 w 464"/>
                <a:gd name="T9" fmla="*/ 78 h 671"/>
                <a:gd name="T10" fmla="*/ 386 w 464"/>
                <a:gd name="T11" fmla="*/ 447 h 671"/>
                <a:gd name="T12" fmla="*/ 336 w 464"/>
                <a:gd name="T13" fmla="*/ 632 h 671"/>
                <a:gd name="T14" fmla="*/ 378 w 464"/>
                <a:gd name="T15" fmla="*/ 636 h 671"/>
                <a:gd name="T16" fmla="*/ 404 w 464"/>
                <a:gd name="T17" fmla="*/ 671 h 671"/>
                <a:gd name="T18" fmla="*/ 464 w 464"/>
                <a:gd name="T19" fmla="*/ 447 h 671"/>
                <a:gd name="T20" fmla="*/ 21 w 46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4" h="671">
                  <a:moveTo>
                    <a:pt x="21" y="0"/>
                  </a:moveTo>
                  <a:cubicBezTo>
                    <a:pt x="20" y="0"/>
                    <a:pt x="19" y="0"/>
                    <a:pt x="18" y="0"/>
                  </a:cubicBezTo>
                  <a:cubicBezTo>
                    <a:pt x="0" y="40"/>
                    <a:pt x="0" y="40"/>
                    <a:pt x="0" y="40"/>
                  </a:cubicBezTo>
                  <a:cubicBezTo>
                    <a:pt x="18" y="78"/>
                    <a:pt x="18" y="78"/>
                    <a:pt x="18" y="78"/>
                  </a:cubicBezTo>
                  <a:cubicBezTo>
                    <a:pt x="19" y="78"/>
                    <a:pt x="20" y="78"/>
                    <a:pt x="21" y="78"/>
                  </a:cubicBezTo>
                  <a:cubicBezTo>
                    <a:pt x="223" y="80"/>
                    <a:pt x="386" y="245"/>
                    <a:pt x="386" y="447"/>
                  </a:cubicBezTo>
                  <a:cubicBezTo>
                    <a:pt x="386" y="515"/>
                    <a:pt x="368" y="578"/>
                    <a:pt x="336" y="632"/>
                  </a:cubicBezTo>
                  <a:cubicBezTo>
                    <a:pt x="378" y="636"/>
                    <a:pt x="378" y="636"/>
                    <a:pt x="378" y="636"/>
                  </a:cubicBezTo>
                  <a:cubicBezTo>
                    <a:pt x="404" y="671"/>
                    <a:pt x="404" y="671"/>
                    <a:pt x="404" y="671"/>
                  </a:cubicBezTo>
                  <a:cubicBezTo>
                    <a:pt x="442" y="605"/>
                    <a:pt x="464" y="529"/>
                    <a:pt x="464" y="447"/>
                  </a:cubicBezTo>
                  <a:cubicBezTo>
                    <a:pt x="464" y="202"/>
                    <a:pt x="266" y="2"/>
                    <a:pt x="21" y="0"/>
                  </a:cubicBezTo>
                  <a:close/>
                </a:path>
              </a:pathLst>
            </a:custGeom>
            <a:solidFill>
              <a:schemeClr val="accent1">
                <a:lumMod val="60000"/>
                <a:lumOff val="40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99" name="Freeform 238"/>
            <p:cNvSpPr>
              <a:spLocks/>
            </p:cNvSpPr>
            <p:nvPr/>
          </p:nvSpPr>
          <p:spPr bwMode="auto">
            <a:xfrm>
              <a:off x="8986322" y="4668634"/>
              <a:ext cx="1214797" cy="821194"/>
            </a:xfrm>
            <a:custGeom>
              <a:avLst/>
              <a:gdLst>
                <a:gd name="T0" fmla="*/ 361 w 387"/>
                <a:gd name="T1" fmla="*/ 4 h 262"/>
                <a:gd name="T2" fmla="*/ 319 w 387"/>
                <a:gd name="T3" fmla="*/ 0 h 262"/>
                <a:gd name="T4" fmla="*/ 318 w 387"/>
                <a:gd name="T5" fmla="*/ 3 h 262"/>
                <a:gd name="T6" fmla="*/ 0 w 387"/>
                <a:gd name="T7" fmla="*/ 184 h 262"/>
                <a:gd name="T8" fmla="*/ 0 w 387"/>
                <a:gd name="T9" fmla="*/ 262 h 262"/>
                <a:gd name="T10" fmla="*/ 252 w 387"/>
                <a:gd name="T11" fmla="*/ 184 h 262"/>
                <a:gd name="T12" fmla="*/ 385 w 387"/>
                <a:gd name="T13" fmla="*/ 42 h 262"/>
                <a:gd name="T14" fmla="*/ 387 w 387"/>
                <a:gd name="T15" fmla="*/ 39 h 262"/>
                <a:gd name="T16" fmla="*/ 361 w 387"/>
                <a:gd name="T17" fmla="*/ 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262">
                  <a:moveTo>
                    <a:pt x="361" y="4"/>
                  </a:moveTo>
                  <a:cubicBezTo>
                    <a:pt x="319" y="0"/>
                    <a:pt x="319" y="0"/>
                    <a:pt x="319" y="0"/>
                  </a:cubicBezTo>
                  <a:cubicBezTo>
                    <a:pt x="319" y="1"/>
                    <a:pt x="318" y="2"/>
                    <a:pt x="318" y="3"/>
                  </a:cubicBezTo>
                  <a:cubicBezTo>
                    <a:pt x="253" y="111"/>
                    <a:pt x="135" y="184"/>
                    <a:pt x="0" y="184"/>
                  </a:cubicBezTo>
                  <a:cubicBezTo>
                    <a:pt x="0" y="262"/>
                    <a:pt x="0" y="262"/>
                    <a:pt x="0" y="262"/>
                  </a:cubicBezTo>
                  <a:cubicBezTo>
                    <a:pt x="93" y="262"/>
                    <a:pt x="180" y="233"/>
                    <a:pt x="252" y="184"/>
                  </a:cubicBezTo>
                  <a:cubicBezTo>
                    <a:pt x="306" y="147"/>
                    <a:pt x="352" y="98"/>
                    <a:pt x="385" y="42"/>
                  </a:cubicBezTo>
                  <a:cubicBezTo>
                    <a:pt x="386" y="41"/>
                    <a:pt x="386" y="40"/>
                    <a:pt x="387" y="39"/>
                  </a:cubicBezTo>
                  <a:lnTo>
                    <a:pt x="361" y="4"/>
                  </a:lnTo>
                  <a:close/>
                </a:path>
              </a:pathLst>
            </a:custGeom>
            <a:solidFill>
              <a:schemeClr val="accent1">
                <a:lumMod val="60000"/>
                <a:lumOff val="40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00" name="Freeform 239"/>
            <p:cNvSpPr>
              <a:spLocks/>
            </p:cNvSpPr>
            <p:nvPr/>
          </p:nvSpPr>
          <p:spPr bwMode="auto">
            <a:xfrm>
              <a:off x="7588109" y="2683416"/>
              <a:ext cx="1406187" cy="2104809"/>
            </a:xfrm>
            <a:custGeom>
              <a:avLst/>
              <a:gdLst>
                <a:gd name="T0" fmla="*/ 430 w 448"/>
                <a:gd name="T1" fmla="*/ 40 h 670"/>
                <a:gd name="T2" fmla="*/ 448 w 448"/>
                <a:gd name="T3" fmla="*/ 0 h 670"/>
                <a:gd name="T4" fmla="*/ 447 w 448"/>
                <a:gd name="T5" fmla="*/ 0 h 670"/>
                <a:gd name="T6" fmla="*/ 0 w 448"/>
                <a:gd name="T7" fmla="*/ 447 h 670"/>
                <a:gd name="T8" fmla="*/ 58 w 448"/>
                <a:gd name="T9" fmla="*/ 667 h 670"/>
                <a:gd name="T10" fmla="*/ 59 w 448"/>
                <a:gd name="T11" fmla="*/ 670 h 670"/>
                <a:gd name="T12" fmla="*/ 101 w 448"/>
                <a:gd name="T13" fmla="*/ 666 h 670"/>
                <a:gd name="T14" fmla="*/ 127 w 448"/>
                <a:gd name="T15" fmla="*/ 631 h 670"/>
                <a:gd name="T16" fmla="*/ 125 w 448"/>
                <a:gd name="T17" fmla="*/ 628 h 670"/>
                <a:gd name="T18" fmla="*/ 78 w 448"/>
                <a:gd name="T19" fmla="*/ 447 h 670"/>
                <a:gd name="T20" fmla="*/ 447 w 448"/>
                <a:gd name="T21" fmla="*/ 78 h 670"/>
                <a:gd name="T22" fmla="*/ 448 w 448"/>
                <a:gd name="T23" fmla="*/ 78 h 670"/>
                <a:gd name="T24" fmla="*/ 430 w 448"/>
                <a:gd name="T25" fmla="*/ 4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670">
                  <a:moveTo>
                    <a:pt x="430" y="40"/>
                  </a:moveTo>
                  <a:cubicBezTo>
                    <a:pt x="448" y="0"/>
                    <a:pt x="448" y="0"/>
                    <a:pt x="448" y="0"/>
                  </a:cubicBezTo>
                  <a:cubicBezTo>
                    <a:pt x="447" y="0"/>
                    <a:pt x="447" y="0"/>
                    <a:pt x="447" y="0"/>
                  </a:cubicBezTo>
                  <a:cubicBezTo>
                    <a:pt x="200" y="0"/>
                    <a:pt x="0" y="200"/>
                    <a:pt x="0" y="447"/>
                  </a:cubicBezTo>
                  <a:cubicBezTo>
                    <a:pt x="0" y="527"/>
                    <a:pt x="21" y="602"/>
                    <a:pt x="58" y="667"/>
                  </a:cubicBezTo>
                  <a:cubicBezTo>
                    <a:pt x="58" y="668"/>
                    <a:pt x="59" y="669"/>
                    <a:pt x="59" y="670"/>
                  </a:cubicBezTo>
                  <a:cubicBezTo>
                    <a:pt x="101" y="666"/>
                    <a:pt x="101" y="666"/>
                    <a:pt x="101" y="666"/>
                  </a:cubicBezTo>
                  <a:cubicBezTo>
                    <a:pt x="127" y="631"/>
                    <a:pt x="127" y="631"/>
                    <a:pt x="127" y="631"/>
                  </a:cubicBezTo>
                  <a:cubicBezTo>
                    <a:pt x="126" y="630"/>
                    <a:pt x="126" y="629"/>
                    <a:pt x="125" y="628"/>
                  </a:cubicBezTo>
                  <a:cubicBezTo>
                    <a:pt x="95" y="575"/>
                    <a:pt x="78" y="513"/>
                    <a:pt x="78" y="447"/>
                  </a:cubicBezTo>
                  <a:cubicBezTo>
                    <a:pt x="78" y="243"/>
                    <a:pt x="243" y="78"/>
                    <a:pt x="447" y="78"/>
                  </a:cubicBezTo>
                  <a:cubicBezTo>
                    <a:pt x="447" y="78"/>
                    <a:pt x="448" y="78"/>
                    <a:pt x="448" y="78"/>
                  </a:cubicBezTo>
                  <a:lnTo>
                    <a:pt x="430" y="40"/>
                  </a:lnTo>
                  <a:close/>
                </a:path>
              </a:pathLst>
            </a:custGeom>
            <a:solidFill>
              <a:schemeClr val="accent1">
                <a:lumMod val="60000"/>
                <a:lumOff val="40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101" name="Freeform 240"/>
            <p:cNvSpPr>
              <a:spLocks/>
            </p:cNvSpPr>
            <p:nvPr/>
          </p:nvSpPr>
          <p:spPr bwMode="auto">
            <a:xfrm>
              <a:off x="7768867" y="4663318"/>
              <a:ext cx="3944767" cy="826510"/>
            </a:xfrm>
            <a:custGeom>
              <a:avLst/>
              <a:gdLst>
                <a:gd name="T0" fmla="*/ 1239 w 1257"/>
                <a:gd name="T1" fmla="*/ 185 h 263"/>
                <a:gd name="T2" fmla="*/ 388 w 1257"/>
                <a:gd name="T3" fmla="*/ 185 h 263"/>
                <a:gd name="T4" fmla="*/ 68 w 1257"/>
                <a:gd name="T5" fmla="*/ 0 h 263"/>
                <a:gd name="T6" fmla="*/ 42 w 1257"/>
                <a:gd name="T7" fmla="*/ 35 h 263"/>
                <a:gd name="T8" fmla="*/ 0 w 1257"/>
                <a:gd name="T9" fmla="*/ 39 h 263"/>
                <a:gd name="T10" fmla="*/ 388 w 1257"/>
                <a:gd name="T11" fmla="*/ 263 h 263"/>
                <a:gd name="T12" fmla="*/ 1239 w 1257"/>
                <a:gd name="T13" fmla="*/ 263 h 263"/>
                <a:gd name="T14" fmla="*/ 1257 w 1257"/>
                <a:gd name="T15" fmla="*/ 225 h 263"/>
                <a:gd name="T16" fmla="*/ 1239 w 1257"/>
                <a:gd name="T17" fmla="*/ 185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7" h="263">
                  <a:moveTo>
                    <a:pt x="1239" y="185"/>
                  </a:moveTo>
                  <a:cubicBezTo>
                    <a:pt x="388" y="185"/>
                    <a:pt x="388" y="185"/>
                    <a:pt x="388" y="185"/>
                  </a:cubicBezTo>
                  <a:cubicBezTo>
                    <a:pt x="251" y="185"/>
                    <a:pt x="131" y="111"/>
                    <a:pt x="68" y="0"/>
                  </a:cubicBezTo>
                  <a:cubicBezTo>
                    <a:pt x="42" y="35"/>
                    <a:pt x="42" y="35"/>
                    <a:pt x="42" y="35"/>
                  </a:cubicBezTo>
                  <a:cubicBezTo>
                    <a:pt x="0" y="39"/>
                    <a:pt x="0" y="39"/>
                    <a:pt x="0" y="39"/>
                  </a:cubicBezTo>
                  <a:cubicBezTo>
                    <a:pt x="77" y="173"/>
                    <a:pt x="222" y="263"/>
                    <a:pt x="388" y="263"/>
                  </a:cubicBezTo>
                  <a:cubicBezTo>
                    <a:pt x="1239" y="263"/>
                    <a:pt x="1239" y="263"/>
                    <a:pt x="1239" y="263"/>
                  </a:cubicBezTo>
                  <a:cubicBezTo>
                    <a:pt x="1257" y="225"/>
                    <a:pt x="1257" y="225"/>
                    <a:pt x="1257" y="225"/>
                  </a:cubicBezTo>
                  <a:lnTo>
                    <a:pt x="1239" y="185"/>
                  </a:lnTo>
                  <a:close/>
                </a:path>
              </a:pathLst>
            </a:custGeom>
            <a:solidFill>
              <a:schemeClr val="accent1">
                <a:lumMod val="60000"/>
                <a:lumOff val="40000"/>
              </a:schemeClr>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grpSp>
      <p:sp>
        <p:nvSpPr>
          <p:cNvPr id="83" name="Text Box 66"/>
          <p:cNvSpPr txBox="1">
            <a:spLocks noChangeArrowheads="1"/>
          </p:cNvSpPr>
          <p:nvPr/>
        </p:nvSpPr>
        <p:spPr bwMode="auto">
          <a:xfrm>
            <a:off x="2401243" y="5696287"/>
            <a:ext cx="155100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ctr"/>
            <a:r>
              <a:rPr lang="en-GB" altLang="de-DE" sz="2000" noProof="1"/>
              <a:t>Placeholder text</a:t>
            </a:r>
          </a:p>
        </p:txBody>
      </p:sp>
      <p:sp>
        <p:nvSpPr>
          <p:cNvPr id="84" name="Text Box 66"/>
          <p:cNvSpPr txBox="1">
            <a:spLocks noChangeArrowheads="1"/>
          </p:cNvSpPr>
          <p:nvPr/>
        </p:nvSpPr>
        <p:spPr bwMode="auto">
          <a:xfrm>
            <a:off x="5325649" y="5702536"/>
            <a:ext cx="155100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ctr"/>
            <a:r>
              <a:rPr lang="en-GB" altLang="de-DE" sz="2000" noProof="1"/>
              <a:t>Placeholder text</a:t>
            </a:r>
          </a:p>
        </p:txBody>
      </p:sp>
      <p:sp>
        <p:nvSpPr>
          <p:cNvPr id="85" name="Text Box 66"/>
          <p:cNvSpPr txBox="1">
            <a:spLocks noChangeArrowheads="1"/>
          </p:cNvSpPr>
          <p:nvPr/>
        </p:nvSpPr>
        <p:spPr bwMode="auto">
          <a:xfrm>
            <a:off x="8244193" y="5702536"/>
            <a:ext cx="155100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ctr"/>
            <a:r>
              <a:rPr lang="en-GB" altLang="de-DE" sz="2000" noProof="1"/>
              <a:t>Placeholder text</a:t>
            </a:r>
          </a:p>
        </p:txBody>
      </p:sp>
      <p:sp>
        <p:nvSpPr>
          <p:cNvPr id="36" name="Text Box 53" descr="© INSCALE GmbH, 26.05.2010&#10;http://www.presentationload.com/"/>
          <p:cNvSpPr txBox="1">
            <a:spLocks noChangeArrowheads="1"/>
          </p:cNvSpPr>
          <p:nvPr/>
        </p:nvSpPr>
        <p:spPr bwMode="gray">
          <a:xfrm>
            <a:off x="8505766" y="1416050"/>
            <a:ext cx="3216334" cy="964303"/>
          </a:xfrm>
          <a:prstGeom prst="rect">
            <a:avLst/>
          </a:prstGeom>
          <a:noFill/>
          <a:ln w="9525">
            <a:noFill/>
            <a:miter lim="800000"/>
            <a:headEnd/>
            <a:tailEnd/>
          </a:ln>
        </p:spPr>
        <p:txBody>
          <a:bodyPr wrap="square" lIns="0" tIns="0" rIns="0" bIns="0">
            <a:spAutoFit/>
          </a:bodyPr>
          <a:lstStyle/>
          <a:p>
            <a:pPr algn="r" defTabSz="801688">
              <a:lnSpc>
                <a:spcPct val="93000"/>
              </a:lnSpc>
              <a:spcBef>
                <a:spcPct val="0"/>
              </a:spcBef>
              <a:spcAft>
                <a:spcPts val="600"/>
              </a:spcAft>
            </a:pPr>
            <a:r>
              <a:rPr lang="en-GB" sz="2000" noProof="1">
                <a:cs typeface="Arial" charset="0"/>
              </a:rPr>
              <a:t>Description 2</a:t>
            </a:r>
          </a:p>
          <a:p>
            <a:pPr algn="r" defTabSz="801688">
              <a:lnSpc>
                <a:spcPct val="93000"/>
              </a:lnSpc>
              <a:spcBef>
                <a:spcPct val="0"/>
              </a:spcBef>
              <a:spcAft>
                <a:spcPts val="1200"/>
              </a:spcAft>
            </a:pPr>
            <a:r>
              <a:rPr lang="en-GB" sz="1400" noProof="1"/>
              <a:t>The text demonstrates how your own text will look when you replace the placeholder with your own text.</a:t>
            </a:r>
          </a:p>
        </p:txBody>
      </p:sp>
      <p:sp>
        <p:nvSpPr>
          <p:cNvPr id="37" name="Text Box 53" descr="© INSCALE GmbH, 26.05.2010&#10;http://www.presentationload.com/"/>
          <p:cNvSpPr txBox="1">
            <a:spLocks noChangeArrowheads="1"/>
          </p:cNvSpPr>
          <p:nvPr/>
        </p:nvSpPr>
        <p:spPr bwMode="gray">
          <a:xfrm>
            <a:off x="482600" y="1416050"/>
            <a:ext cx="3439160" cy="964303"/>
          </a:xfrm>
          <a:prstGeom prst="rect">
            <a:avLst/>
          </a:prstGeom>
          <a:noFill/>
          <a:ln w="9525">
            <a:noFill/>
            <a:miter lim="800000"/>
            <a:headEnd/>
            <a:tailEnd/>
          </a:ln>
        </p:spPr>
        <p:txBody>
          <a:bodyPr wrap="square" lIns="0" tIns="0" rIns="0" bIns="0">
            <a:spAutoFit/>
          </a:bodyPr>
          <a:lstStyle/>
          <a:p>
            <a:pPr defTabSz="801688">
              <a:lnSpc>
                <a:spcPct val="93000"/>
              </a:lnSpc>
              <a:spcBef>
                <a:spcPct val="0"/>
              </a:spcBef>
              <a:spcAft>
                <a:spcPts val="600"/>
              </a:spcAft>
            </a:pPr>
            <a:r>
              <a:rPr lang="en-GB" sz="2000" noProof="1">
                <a:cs typeface="Arial" charset="0"/>
              </a:rPr>
              <a:t>Description 1</a:t>
            </a:r>
          </a:p>
          <a:p>
            <a:pPr defTabSz="801688">
              <a:lnSpc>
                <a:spcPct val="93000"/>
              </a:lnSpc>
              <a:spcBef>
                <a:spcPct val="0"/>
              </a:spcBef>
              <a:spcAft>
                <a:spcPts val="1200"/>
              </a:spcAft>
            </a:pPr>
            <a:r>
              <a:rPr lang="en-GB" sz="1400" noProof="1"/>
              <a:t>The text demonstrates how your own text will look when you replace the placeholder with your own text.</a:t>
            </a:r>
          </a:p>
        </p:txBody>
      </p:sp>
      <p:sp>
        <p:nvSpPr>
          <p:cNvPr id="38" name="Oval 69"/>
          <p:cNvSpPr>
            <a:spLocks noChangeArrowheads="1"/>
          </p:cNvSpPr>
          <p:nvPr/>
        </p:nvSpPr>
        <p:spPr bwMode="auto">
          <a:xfrm>
            <a:off x="5080117" y="3046733"/>
            <a:ext cx="2054940" cy="2054645"/>
          </a:xfrm>
          <a:prstGeom prst="ellipse">
            <a:avLst/>
          </a:prstGeom>
          <a:gradFill flip="none" rotWithShape="1">
            <a:gsLst>
              <a:gs pos="0">
                <a:srgbClr val="F2F2F2"/>
              </a:gs>
              <a:gs pos="100000">
                <a:srgbClr val="CCCCCC"/>
              </a:gs>
            </a:gsLst>
            <a:path path="circle">
              <a:fillToRect l="100000" t="100000"/>
            </a:path>
            <a:tileRect r="-100000" b="-100000"/>
          </a:gradFill>
          <a:ln w="9525">
            <a:solidFill>
              <a:schemeClr val="bg1">
                <a:lumMod val="75000"/>
              </a:schemeClr>
            </a:solidFill>
            <a:round/>
            <a:headEnd/>
            <a:tailEnd/>
          </a:ln>
          <a:effectLst/>
          <a:scene3d>
            <a:camera prst="orthographicFront"/>
            <a:lightRig rig="balanced" dir="t"/>
          </a:scene3d>
          <a:sp3d>
            <a:bevelT w="0" h="0"/>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GB" altLang="de-DE" sz="3200">
                <a:effectLst>
                  <a:innerShdw blurRad="114300">
                    <a:prstClr val="black">
                      <a:alpha val="96000"/>
                    </a:prstClr>
                  </a:innerShdw>
                </a:effectLst>
                <a:cs typeface="Arial" charset="0"/>
              </a:rPr>
              <a:t>Text</a:t>
            </a:r>
            <a:endParaRPr lang="en-GB" altLang="de-DE" sz="3200" dirty="0">
              <a:effectLst>
                <a:innerShdw blurRad="114300">
                  <a:prstClr val="black">
                    <a:alpha val="96000"/>
                  </a:prstClr>
                </a:innerShdw>
              </a:effectLst>
              <a:cs typeface="Arial" charset="0"/>
            </a:endParaRPr>
          </a:p>
        </p:txBody>
      </p:sp>
      <p:sp>
        <p:nvSpPr>
          <p:cNvPr id="39" name="Oval 69"/>
          <p:cNvSpPr>
            <a:spLocks noChangeArrowheads="1"/>
          </p:cNvSpPr>
          <p:nvPr/>
        </p:nvSpPr>
        <p:spPr bwMode="auto">
          <a:xfrm>
            <a:off x="7965581" y="3046733"/>
            <a:ext cx="2054940" cy="2054645"/>
          </a:xfrm>
          <a:prstGeom prst="ellipse">
            <a:avLst/>
          </a:prstGeom>
          <a:gradFill flip="none" rotWithShape="1">
            <a:gsLst>
              <a:gs pos="0">
                <a:srgbClr val="F2F2F2"/>
              </a:gs>
              <a:gs pos="100000">
                <a:srgbClr val="CCCCCC"/>
              </a:gs>
            </a:gsLst>
            <a:path path="circle">
              <a:fillToRect l="100000" t="100000"/>
            </a:path>
            <a:tileRect r="-100000" b="-100000"/>
          </a:gradFill>
          <a:ln w="9525">
            <a:solidFill>
              <a:schemeClr val="bg1">
                <a:lumMod val="75000"/>
              </a:schemeClr>
            </a:solidFill>
            <a:round/>
            <a:headEnd/>
            <a:tailEnd/>
          </a:ln>
          <a:effectLst/>
          <a:scene3d>
            <a:camera prst="orthographicFront"/>
            <a:lightRig rig="balanced" dir="t"/>
          </a:scene3d>
          <a:sp3d>
            <a:bevelT w="0" h="0"/>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GB" altLang="de-DE" sz="3200">
                <a:effectLst>
                  <a:innerShdw blurRad="114300">
                    <a:prstClr val="black">
                      <a:alpha val="96000"/>
                    </a:prstClr>
                  </a:innerShdw>
                </a:effectLst>
                <a:cs typeface="Arial" charset="0"/>
              </a:rPr>
              <a:t>Text</a:t>
            </a:r>
            <a:endParaRPr lang="en-GB" altLang="de-DE" sz="3200" dirty="0">
              <a:effectLst>
                <a:innerShdw blurRad="114300">
                  <a:prstClr val="black">
                    <a:alpha val="96000"/>
                  </a:prstClr>
                </a:innerShdw>
              </a:effectLst>
              <a:cs typeface="Arial" charset="0"/>
            </a:endParaRPr>
          </a:p>
        </p:txBody>
      </p:sp>
      <p:sp>
        <p:nvSpPr>
          <p:cNvPr id="40" name="Oval 69"/>
          <p:cNvSpPr>
            <a:spLocks noChangeArrowheads="1"/>
          </p:cNvSpPr>
          <p:nvPr/>
        </p:nvSpPr>
        <p:spPr bwMode="auto">
          <a:xfrm>
            <a:off x="2224010" y="3036573"/>
            <a:ext cx="2054940" cy="2054645"/>
          </a:xfrm>
          <a:prstGeom prst="ellipse">
            <a:avLst/>
          </a:prstGeom>
          <a:gradFill flip="none" rotWithShape="1">
            <a:gsLst>
              <a:gs pos="0">
                <a:srgbClr val="F2F2F2"/>
              </a:gs>
              <a:gs pos="100000">
                <a:srgbClr val="CCCCCC"/>
              </a:gs>
            </a:gsLst>
            <a:path path="circle">
              <a:fillToRect l="100000" t="100000"/>
            </a:path>
            <a:tileRect r="-100000" b="-100000"/>
          </a:gradFill>
          <a:ln w="9525">
            <a:solidFill>
              <a:schemeClr val="bg1">
                <a:lumMod val="75000"/>
              </a:schemeClr>
            </a:solidFill>
            <a:round/>
            <a:headEnd/>
            <a:tailEnd/>
          </a:ln>
          <a:effectLst/>
          <a:scene3d>
            <a:camera prst="orthographicFront"/>
            <a:lightRig rig="balanced" dir="t"/>
          </a:scene3d>
          <a:sp3d>
            <a:bevelT w="0" h="0"/>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GB" altLang="de-DE" sz="3200">
                <a:effectLst>
                  <a:innerShdw blurRad="114300">
                    <a:prstClr val="black">
                      <a:alpha val="96000"/>
                    </a:prstClr>
                  </a:innerShdw>
                </a:effectLst>
                <a:cs typeface="Arial" charset="0"/>
              </a:rPr>
              <a:t>Text</a:t>
            </a:r>
            <a:endParaRPr lang="en-GB" altLang="de-DE" sz="3200" dirty="0">
              <a:effectLst>
                <a:innerShdw blurRad="114300">
                  <a:prstClr val="black">
                    <a:alpha val="96000"/>
                  </a:prstClr>
                </a:innerShdw>
              </a:effectLst>
              <a:cs typeface="Arial" charset="0"/>
            </a:endParaRPr>
          </a:p>
        </p:txBody>
      </p:sp>
    </p:spTree>
    <p:custDataLst>
      <p:tags r:id="rId1"/>
    </p:custDataLst>
    <p:extLst>
      <p:ext uri="{BB962C8B-B14F-4D97-AF65-F5344CB8AC3E}">
        <p14:creationId xmlns:p14="http://schemas.microsoft.com/office/powerpoint/2010/main" val="280929273"/>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73F3E46-9C67-4262-A7DF-A10813305B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3" name="Objekt 2" hidden="1">
                        <a:extLst>
                          <a:ext uri="{FF2B5EF4-FFF2-40B4-BE49-F238E27FC236}">
                            <a16:creationId xmlns:a16="http://schemas.microsoft.com/office/drawing/2014/main" id="{F73F3E46-9C67-4262-A7DF-A10813305B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AD9628EC-C828-4B5E-A7EF-BCC62D9DFCF8}"/>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40963" name="_h1"/>
          <p:cNvSpPr>
            <a:spLocks noGrp="1" noChangeArrowheads="1"/>
          </p:cNvSpPr>
          <p:nvPr>
            <p:ph type="title"/>
          </p:nvPr>
        </p:nvSpPr>
        <p:spPr>
          <a:xfrm>
            <a:off x="488947" y="347184"/>
            <a:ext cx="11224684" cy="372090"/>
          </a:xfrm>
        </p:spPr>
        <p:txBody>
          <a:bodyPr/>
          <a:lstStyle/>
          <a:p>
            <a:r>
              <a:rPr lang="en-GB" altLang="de-DE" noProof="1"/>
              <a:t>Looping Circle Charts.</a:t>
            </a:r>
            <a:br>
              <a:rPr lang="en-GB" altLang="de-DE" noProof="1"/>
            </a:br>
            <a:r>
              <a:rPr lang="en-GB" altLang="de-DE" noProof="1"/>
              <a:t>2 Segments.</a:t>
            </a:r>
            <a:endParaRPr lang="en-GB" noProof="1"/>
          </a:p>
        </p:txBody>
      </p:sp>
      <p:sp>
        <p:nvSpPr>
          <p:cNvPr id="102" name="Rectangle 16"/>
          <p:cNvSpPr>
            <a:spLocks noChangeArrowheads="1"/>
          </p:cNvSpPr>
          <p:nvPr/>
        </p:nvSpPr>
        <p:spPr bwMode="auto">
          <a:xfrm>
            <a:off x="2631662" y="5203066"/>
            <a:ext cx="3473615" cy="311323"/>
          </a:xfrm>
          <a:prstGeom prst="rect">
            <a:avLst/>
          </a:prstGeom>
          <a:gradFill>
            <a:gsLst>
              <a:gs pos="76000">
                <a:schemeClr val="bg1">
                  <a:lumMod val="75000"/>
                </a:schemeClr>
              </a:gs>
              <a:gs pos="28000">
                <a:schemeClr val="bg1">
                  <a:lumMod val="50000"/>
                </a:schemeClr>
              </a:gs>
              <a:gs pos="100000">
                <a:schemeClr val="bg1">
                  <a:lumMod val="95000"/>
                </a:schemeClr>
              </a:gs>
            </a:gsLst>
            <a:lin ang="13500000" scaled="1"/>
          </a:gradFill>
          <a:ln w="9525">
            <a:solidFill>
              <a:schemeClr val="bg1"/>
            </a:solidFill>
            <a:miter lim="800000"/>
            <a:headEnd/>
            <a:tailEnd/>
          </a:ln>
          <a:scene3d>
            <a:camera prst="orthographicFront"/>
            <a:lightRig rig="threePt" dir="t"/>
          </a:scene3d>
          <a:sp3d>
            <a:bevelT w="0" h="0"/>
            <a:bevelB w="0" h="0"/>
          </a:sp3d>
        </p:spPr>
        <p:txBody>
          <a:bodyPr/>
          <a:lstStyle/>
          <a:p>
            <a:endParaRPr lang="en-GB" dirty="0"/>
          </a:p>
        </p:txBody>
      </p:sp>
      <p:sp>
        <p:nvSpPr>
          <p:cNvPr id="103" name="Freeform 17"/>
          <p:cNvSpPr>
            <a:spLocks/>
          </p:cNvSpPr>
          <p:nvPr/>
        </p:nvSpPr>
        <p:spPr bwMode="auto">
          <a:xfrm>
            <a:off x="6040982" y="1940948"/>
            <a:ext cx="1851015" cy="3573441"/>
          </a:xfrm>
          <a:custGeom>
            <a:avLst/>
            <a:gdLst>
              <a:gd name="T0" fmla="*/ 20 w 463"/>
              <a:gd name="T1" fmla="*/ 0 h 894"/>
              <a:gd name="T2" fmla="*/ 18 w 463"/>
              <a:gd name="T3" fmla="*/ 0 h 894"/>
              <a:gd name="T4" fmla="*/ 0 w 463"/>
              <a:gd name="T5" fmla="*/ 40 h 894"/>
              <a:gd name="T6" fmla="*/ 18 w 463"/>
              <a:gd name="T7" fmla="*/ 78 h 894"/>
              <a:gd name="T8" fmla="*/ 20 w 463"/>
              <a:gd name="T9" fmla="*/ 78 h 894"/>
              <a:gd name="T10" fmla="*/ 385 w 463"/>
              <a:gd name="T11" fmla="*/ 447 h 894"/>
              <a:gd name="T12" fmla="*/ 16 w 463"/>
              <a:gd name="T13" fmla="*/ 816 h 894"/>
              <a:gd name="T14" fmla="*/ 16 w 463"/>
              <a:gd name="T15" fmla="*/ 894 h 894"/>
              <a:gd name="T16" fmla="*/ 269 w 463"/>
              <a:gd name="T17" fmla="*/ 816 h 894"/>
              <a:gd name="T18" fmla="*/ 463 w 463"/>
              <a:gd name="T19" fmla="*/ 447 h 894"/>
              <a:gd name="T20" fmla="*/ 20 w 463"/>
              <a:gd name="T21" fmla="*/ 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3" h="894">
                <a:moveTo>
                  <a:pt x="20" y="0"/>
                </a:moveTo>
                <a:cubicBezTo>
                  <a:pt x="19" y="0"/>
                  <a:pt x="19" y="0"/>
                  <a:pt x="18" y="0"/>
                </a:cubicBezTo>
                <a:cubicBezTo>
                  <a:pt x="0" y="40"/>
                  <a:pt x="0" y="40"/>
                  <a:pt x="0" y="40"/>
                </a:cubicBezTo>
                <a:cubicBezTo>
                  <a:pt x="18" y="78"/>
                  <a:pt x="18" y="78"/>
                  <a:pt x="18" y="78"/>
                </a:cubicBezTo>
                <a:cubicBezTo>
                  <a:pt x="19" y="78"/>
                  <a:pt x="19" y="78"/>
                  <a:pt x="20" y="78"/>
                </a:cubicBezTo>
                <a:cubicBezTo>
                  <a:pt x="222" y="80"/>
                  <a:pt x="385" y="245"/>
                  <a:pt x="385" y="447"/>
                </a:cubicBezTo>
                <a:cubicBezTo>
                  <a:pt x="385" y="651"/>
                  <a:pt x="220" y="816"/>
                  <a:pt x="16" y="816"/>
                </a:cubicBezTo>
                <a:cubicBezTo>
                  <a:pt x="16" y="894"/>
                  <a:pt x="16" y="894"/>
                  <a:pt x="16" y="894"/>
                </a:cubicBezTo>
                <a:cubicBezTo>
                  <a:pt x="110" y="894"/>
                  <a:pt x="197" y="865"/>
                  <a:pt x="269" y="816"/>
                </a:cubicBezTo>
                <a:cubicBezTo>
                  <a:pt x="386" y="735"/>
                  <a:pt x="463" y="600"/>
                  <a:pt x="463" y="447"/>
                </a:cubicBezTo>
                <a:cubicBezTo>
                  <a:pt x="463" y="201"/>
                  <a:pt x="265" y="2"/>
                  <a:pt x="20" y="0"/>
                </a:cubicBezTo>
                <a:close/>
              </a:path>
            </a:pathLst>
          </a:custGeom>
          <a:gradFill>
            <a:gsLst>
              <a:gs pos="76000">
                <a:schemeClr val="bg1">
                  <a:lumMod val="75000"/>
                </a:schemeClr>
              </a:gs>
              <a:gs pos="28000">
                <a:schemeClr val="bg1">
                  <a:lumMod val="50000"/>
                </a:schemeClr>
              </a:gs>
              <a:gs pos="100000">
                <a:schemeClr val="bg1">
                  <a:lumMod val="95000"/>
                </a:schemeClr>
              </a:gs>
            </a:gsLst>
            <a:lin ang="13500000" scaled="1"/>
          </a:gradFill>
          <a:ln w="9525">
            <a:solidFill>
              <a:schemeClr val="bg1"/>
            </a:solidFill>
            <a:miter lim="800000"/>
            <a:headEnd/>
            <a:tailEnd/>
          </a:ln>
          <a:scene3d>
            <a:camera prst="orthographicFront"/>
            <a:lightRig rig="threePt" dir="t"/>
          </a:scene3d>
          <a:sp3d>
            <a:bevelT w="0" h="0"/>
            <a:bevelB w="0" h="0"/>
          </a:sp3d>
        </p:spPr>
        <p:txBody>
          <a:bodyPr/>
          <a:lstStyle/>
          <a:p>
            <a:endParaRPr lang="en-GB" dirty="0"/>
          </a:p>
        </p:txBody>
      </p:sp>
      <p:sp>
        <p:nvSpPr>
          <p:cNvPr id="104" name="Freeform 18"/>
          <p:cNvSpPr>
            <a:spLocks/>
          </p:cNvSpPr>
          <p:nvPr/>
        </p:nvSpPr>
        <p:spPr bwMode="auto">
          <a:xfrm>
            <a:off x="4318557" y="1940948"/>
            <a:ext cx="5263719" cy="3573441"/>
          </a:xfrm>
          <a:custGeom>
            <a:avLst/>
            <a:gdLst>
              <a:gd name="T0" fmla="*/ 1299 w 1317"/>
              <a:gd name="T1" fmla="*/ 816 h 894"/>
              <a:gd name="T2" fmla="*/ 447 w 1317"/>
              <a:gd name="T3" fmla="*/ 816 h 894"/>
              <a:gd name="T4" fmla="*/ 78 w 1317"/>
              <a:gd name="T5" fmla="*/ 447 h 894"/>
              <a:gd name="T6" fmla="*/ 447 w 1317"/>
              <a:gd name="T7" fmla="*/ 78 h 894"/>
              <a:gd name="T8" fmla="*/ 449 w 1317"/>
              <a:gd name="T9" fmla="*/ 78 h 894"/>
              <a:gd name="T10" fmla="*/ 431 w 1317"/>
              <a:gd name="T11" fmla="*/ 40 h 894"/>
              <a:gd name="T12" fmla="*/ 449 w 1317"/>
              <a:gd name="T13" fmla="*/ 0 h 894"/>
              <a:gd name="T14" fmla="*/ 447 w 1317"/>
              <a:gd name="T15" fmla="*/ 0 h 894"/>
              <a:gd name="T16" fmla="*/ 0 w 1317"/>
              <a:gd name="T17" fmla="*/ 447 h 894"/>
              <a:gd name="T18" fmla="*/ 195 w 1317"/>
              <a:gd name="T19" fmla="*/ 816 h 894"/>
              <a:gd name="T20" fmla="*/ 447 w 1317"/>
              <a:gd name="T21" fmla="*/ 894 h 894"/>
              <a:gd name="T22" fmla="*/ 1299 w 1317"/>
              <a:gd name="T23" fmla="*/ 894 h 894"/>
              <a:gd name="T24" fmla="*/ 1317 w 1317"/>
              <a:gd name="T25" fmla="*/ 856 h 894"/>
              <a:gd name="T26" fmla="*/ 1299 w 1317"/>
              <a:gd name="T27" fmla="*/ 816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7" h="894">
                <a:moveTo>
                  <a:pt x="1299" y="816"/>
                </a:moveTo>
                <a:cubicBezTo>
                  <a:pt x="447" y="816"/>
                  <a:pt x="447" y="816"/>
                  <a:pt x="447" y="816"/>
                </a:cubicBezTo>
                <a:cubicBezTo>
                  <a:pt x="244" y="816"/>
                  <a:pt x="78" y="651"/>
                  <a:pt x="78" y="447"/>
                </a:cubicBezTo>
                <a:cubicBezTo>
                  <a:pt x="78" y="243"/>
                  <a:pt x="244" y="78"/>
                  <a:pt x="447" y="78"/>
                </a:cubicBezTo>
                <a:cubicBezTo>
                  <a:pt x="448" y="78"/>
                  <a:pt x="448" y="78"/>
                  <a:pt x="449" y="78"/>
                </a:cubicBezTo>
                <a:cubicBezTo>
                  <a:pt x="431" y="40"/>
                  <a:pt x="431" y="40"/>
                  <a:pt x="431" y="40"/>
                </a:cubicBezTo>
                <a:cubicBezTo>
                  <a:pt x="449" y="0"/>
                  <a:pt x="449" y="0"/>
                  <a:pt x="449" y="0"/>
                </a:cubicBezTo>
                <a:cubicBezTo>
                  <a:pt x="448" y="0"/>
                  <a:pt x="448" y="0"/>
                  <a:pt x="447" y="0"/>
                </a:cubicBezTo>
                <a:cubicBezTo>
                  <a:pt x="201" y="0"/>
                  <a:pt x="0" y="200"/>
                  <a:pt x="0" y="447"/>
                </a:cubicBezTo>
                <a:cubicBezTo>
                  <a:pt x="0" y="600"/>
                  <a:pt x="78" y="735"/>
                  <a:pt x="195" y="816"/>
                </a:cubicBezTo>
                <a:cubicBezTo>
                  <a:pt x="267" y="865"/>
                  <a:pt x="354" y="894"/>
                  <a:pt x="447" y="894"/>
                </a:cubicBezTo>
                <a:cubicBezTo>
                  <a:pt x="1299" y="894"/>
                  <a:pt x="1299" y="894"/>
                  <a:pt x="1299" y="894"/>
                </a:cubicBezTo>
                <a:cubicBezTo>
                  <a:pt x="1317" y="856"/>
                  <a:pt x="1317" y="856"/>
                  <a:pt x="1317" y="856"/>
                </a:cubicBezTo>
                <a:lnTo>
                  <a:pt x="1299" y="816"/>
                </a:lnTo>
                <a:close/>
              </a:path>
            </a:pathLst>
          </a:custGeom>
          <a:gradFill>
            <a:gsLst>
              <a:gs pos="73000">
                <a:schemeClr val="accent1"/>
              </a:gs>
              <a:gs pos="45000">
                <a:schemeClr val="accent1">
                  <a:lumMod val="75000"/>
                </a:schemeClr>
              </a:gs>
              <a:gs pos="100000">
                <a:schemeClr val="accent1">
                  <a:lumMod val="75000"/>
                </a:schemeClr>
              </a:gs>
            </a:gsLst>
            <a:lin ang="13500000" scaled="1"/>
          </a:gradFill>
          <a:ln w="9525">
            <a:solidFill>
              <a:schemeClr val="bg1"/>
            </a:solidFill>
            <a:miter lim="800000"/>
            <a:headEnd/>
            <a:tailEnd/>
          </a:ln>
          <a:scene3d>
            <a:camera prst="orthographicFront"/>
            <a:lightRig rig="threePt" dir="t"/>
          </a:scene3d>
          <a:sp3d extrusionH="76200">
            <a:bevelT w="0" h="0"/>
            <a:bevelB w="0" h="0"/>
            <a:extrusionClr>
              <a:schemeClr val="accent1"/>
            </a:extrusionClr>
          </a:sp3d>
        </p:spPr>
        <p:txBody>
          <a:bodyPr/>
          <a:lstStyle/>
          <a:p>
            <a:endParaRPr lang="en-GB" dirty="0"/>
          </a:p>
        </p:txBody>
      </p:sp>
      <p:sp>
        <p:nvSpPr>
          <p:cNvPr id="105" name="Oval 86" descr="Bild1"/>
          <p:cNvSpPr>
            <a:spLocks noChangeArrowheads="1"/>
          </p:cNvSpPr>
          <p:nvPr/>
        </p:nvSpPr>
        <p:spPr bwMode="gray">
          <a:xfrm>
            <a:off x="4775389" y="2370708"/>
            <a:ext cx="2680081" cy="2680081"/>
          </a:xfrm>
          <a:prstGeom prst="ellipse">
            <a:avLst/>
          </a:prstGeom>
          <a:blipFill dpi="0" rotWithShape="1">
            <a:blip r:embed="rId8"/>
            <a:srcRect/>
            <a:stretch>
              <a:fillRect l="-13881" t="-14013" r="-57139"/>
            </a:stretch>
          </a:blipFill>
          <a:ln w="6350">
            <a:solidFill>
              <a:schemeClr val="bg1">
                <a:lumMod val="50000"/>
              </a:schemeClr>
            </a:solidFill>
            <a:round/>
            <a:headEnd/>
            <a:tailEnd/>
          </a:ln>
          <a:effectLst>
            <a:innerShdw blurRad="114300">
              <a:prstClr val="black">
                <a:alpha val="49000"/>
              </a:prstClr>
            </a:innerShdw>
          </a:effectLst>
        </p:spPr>
        <p:txBody>
          <a:bodyPr lIns="108000" tIns="72000" rIns="72000" bIns="72000" anchor="ctr"/>
          <a:lstStyle/>
          <a:p>
            <a:endParaRPr lang="en-GB" dirty="0"/>
          </a:p>
        </p:txBody>
      </p:sp>
      <p:cxnSp>
        <p:nvCxnSpPr>
          <p:cNvPr id="99" name="Gerade Verbindung 98"/>
          <p:cNvCxnSpPr/>
          <p:nvPr/>
        </p:nvCxnSpPr>
        <p:spPr bwMode="gray">
          <a:xfrm>
            <a:off x="7365844" y="1995148"/>
            <a:ext cx="4356256" cy="1"/>
          </a:xfrm>
          <a:prstGeom prst="line">
            <a:avLst/>
          </a:prstGeom>
          <a:noFill/>
          <a:ln w="19050">
            <a:solidFill>
              <a:schemeClr val="tx2"/>
            </a:solidFill>
            <a:prstDash val="solid"/>
            <a:round/>
            <a:headEnd/>
            <a:tailEnd/>
          </a:ln>
        </p:spPr>
      </p:cxnSp>
      <p:cxnSp>
        <p:nvCxnSpPr>
          <p:cNvPr id="96" name="Gerade Verbindung 95"/>
          <p:cNvCxnSpPr/>
          <p:nvPr/>
        </p:nvCxnSpPr>
        <p:spPr bwMode="gray">
          <a:xfrm flipV="1">
            <a:off x="504564" y="3242749"/>
            <a:ext cx="3602897" cy="1"/>
          </a:xfrm>
          <a:prstGeom prst="line">
            <a:avLst/>
          </a:prstGeom>
          <a:noFill/>
          <a:ln w="19050">
            <a:solidFill>
              <a:schemeClr val="tx2"/>
            </a:solidFill>
            <a:prstDash val="solid"/>
            <a:round/>
            <a:headEnd/>
            <a:tailEnd/>
          </a:ln>
        </p:spPr>
      </p:cxnSp>
      <p:cxnSp>
        <p:nvCxnSpPr>
          <p:cNvPr id="95" name="Gerade Verbindung 94"/>
          <p:cNvCxnSpPr/>
          <p:nvPr/>
        </p:nvCxnSpPr>
        <p:spPr bwMode="gray">
          <a:xfrm flipV="1">
            <a:off x="8087101" y="4440260"/>
            <a:ext cx="3617522" cy="19952"/>
          </a:xfrm>
          <a:prstGeom prst="line">
            <a:avLst/>
          </a:prstGeom>
          <a:noFill/>
          <a:ln w="19050">
            <a:solidFill>
              <a:schemeClr val="tx2"/>
            </a:solidFill>
            <a:prstDash val="solid"/>
            <a:round/>
            <a:headEnd/>
            <a:tailEnd/>
          </a:ln>
        </p:spPr>
      </p:cxnSp>
      <p:cxnSp>
        <p:nvCxnSpPr>
          <p:cNvPr id="92" name="Gerade Verbindung 91"/>
          <p:cNvCxnSpPr/>
          <p:nvPr/>
        </p:nvCxnSpPr>
        <p:spPr bwMode="gray">
          <a:xfrm flipV="1">
            <a:off x="504564" y="1995148"/>
            <a:ext cx="4561744" cy="2"/>
          </a:xfrm>
          <a:prstGeom prst="line">
            <a:avLst/>
          </a:prstGeom>
          <a:noFill/>
          <a:ln w="19050">
            <a:solidFill>
              <a:schemeClr val="tx2"/>
            </a:solidFill>
            <a:prstDash val="solid"/>
            <a:round/>
            <a:headEnd/>
            <a:tailEnd/>
          </a:ln>
        </p:spPr>
      </p:cxnSp>
      <p:cxnSp>
        <p:nvCxnSpPr>
          <p:cNvPr id="91" name="Gerade Verbindung 90"/>
          <p:cNvCxnSpPr/>
          <p:nvPr/>
        </p:nvCxnSpPr>
        <p:spPr bwMode="gray">
          <a:xfrm>
            <a:off x="8163469" y="3242749"/>
            <a:ext cx="3541154" cy="1"/>
          </a:xfrm>
          <a:prstGeom prst="line">
            <a:avLst/>
          </a:prstGeom>
          <a:noFill/>
          <a:ln w="19050">
            <a:solidFill>
              <a:schemeClr val="tx2"/>
            </a:solidFill>
            <a:prstDash val="solid"/>
            <a:round/>
            <a:headEnd/>
            <a:tailEnd/>
          </a:ln>
        </p:spPr>
      </p:cxnSp>
      <p:cxnSp>
        <p:nvCxnSpPr>
          <p:cNvPr id="89" name="Gerade Verbindung 88"/>
          <p:cNvCxnSpPr/>
          <p:nvPr/>
        </p:nvCxnSpPr>
        <p:spPr bwMode="gray">
          <a:xfrm flipV="1">
            <a:off x="488948" y="4440260"/>
            <a:ext cx="3618514" cy="26298"/>
          </a:xfrm>
          <a:prstGeom prst="line">
            <a:avLst/>
          </a:prstGeom>
          <a:noFill/>
          <a:ln w="19050">
            <a:solidFill>
              <a:schemeClr val="tx2"/>
            </a:solidFill>
            <a:prstDash val="solid"/>
            <a:round/>
            <a:headEnd/>
            <a:tailEnd/>
          </a:ln>
        </p:spPr>
      </p:cxnSp>
      <p:sp>
        <p:nvSpPr>
          <p:cNvPr id="31" name="Text Box 53" descr="© INSCALE GmbH, 26.05.2010&#10;http://www.presentationload.com/"/>
          <p:cNvSpPr txBox="1">
            <a:spLocks noChangeArrowheads="1"/>
          </p:cNvSpPr>
          <p:nvPr/>
        </p:nvSpPr>
        <p:spPr bwMode="gray">
          <a:xfrm>
            <a:off x="9588580" y="1690348"/>
            <a:ext cx="2133520" cy="763927"/>
          </a:xfrm>
          <a:prstGeom prst="rect">
            <a:avLst/>
          </a:prstGeom>
          <a:noFill/>
          <a:ln w="9525">
            <a:noFill/>
            <a:miter lim="800000"/>
            <a:headEnd/>
            <a:tailEnd/>
          </a:ln>
        </p:spPr>
        <p:txBody>
          <a:bodyPr wrap="square" lIns="0" tIns="0" rIns="0" bIns="0">
            <a:spAutoFit/>
          </a:bodyPr>
          <a:lstStyle/>
          <a:p>
            <a:pPr algn="r" defTabSz="801688">
              <a:lnSpc>
                <a:spcPct val="93000"/>
              </a:lnSpc>
              <a:spcBef>
                <a:spcPct val="0"/>
              </a:spcBef>
              <a:spcAft>
                <a:spcPts val="600"/>
              </a:spcAft>
            </a:pPr>
            <a:r>
              <a:rPr lang="en-GB" sz="2000" noProof="1">
                <a:cs typeface="Arial" charset="0"/>
              </a:rPr>
              <a:t>Description 2</a:t>
            </a:r>
          </a:p>
          <a:p>
            <a:pPr algn="r" defTabSz="801688">
              <a:lnSpc>
                <a:spcPct val="93000"/>
              </a:lnSpc>
              <a:spcBef>
                <a:spcPct val="0"/>
              </a:spcBef>
              <a:spcAft>
                <a:spcPts val="1200"/>
              </a:spcAft>
            </a:pPr>
            <a:r>
              <a:rPr lang="en-GB" sz="1400" noProof="1"/>
              <a:t>Text can be replaced with your own text.</a:t>
            </a:r>
          </a:p>
        </p:txBody>
      </p:sp>
      <p:sp>
        <p:nvSpPr>
          <p:cNvPr id="32" name="Text Box 53" descr="© INSCALE GmbH, 26.05.2010&#10;http://www.presentationload.com/"/>
          <p:cNvSpPr txBox="1">
            <a:spLocks noChangeArrowheads="1"/>
          </p:cNvSpPr>
          <p:nvPr/>
        </p:nvSpPr>
        <p:spPr bwMode="gray">
          <a:xfrm>
            <a:off x="482600" y="1690348"/>
            <a:ext cx="2281329" cy="763927"/>
          </a:xfrm>
          <a:prstGeom prst="rect">
            <a:avLst/>
          </a:prstGeom>
          <a:noFill/>
          <a:ln w="9525">
            <a:noFill/>
            <a:miter lim="800000"/>
            <a:headEnd/>
            <a:tailEnd/>
          </a:ln>
        </p:spPr>
        <p:txBody>
          <a:bodyPr wrap="square" lIns="0" tIns="0" rIns="0" bIns="0">
            <a:spAutoFit/>
          </a:bodyPr>
          <a:lstStyle/>
          <a:p>
            <a:pPr defTabSz="801688">
              <a:lnSpc>
                <a:spcPct val="93000"/>
              </a:lnSpc>
              <a:spcBef>
                <a:spcPct val="0"/>
              </a:spcBef>
              <a:spcAft>
                <a:spcPts val="600"/>
              </a:spcAft>
            </a:pPr>
            <a:r>
              <a:rPr lang="en-GB" sz="2000" noProof="1">
                <a:cs typeface="Arial" charset="0"/>
              </a:rPr>
              <a:t>Description 1</a:t>
            </a:r>
          </a:p>
          <a:p>
            <a:pPr defTabSz="801688">
              <a:lnSpc>
                <a:spcPct val="93000"/>
              </a:lnSpc>
              <a:spcBef>
                <a:spcPct val="0"/>
              </a:spcBef>
              <a:spcAft>
                <a:spcPts val="1200"/>
              </a:spcAft>
            </a:pPr>
            <a:r>
              <a:rPr lang="en-GB" sz="1400" noProof="1"/>
              <a:t>Text can be replaced with your own text.</a:t>
            </a:r>
          </a:p>
        </p:txBody>
      </p:sp>
      <p:sp>
        <p:nvSpPr>
          <p:cNvPr id="35" name="Text Box 53" descr="© INSCALE GmbH, 26.05.2010&#10;http://www.presentationload.com/"/>
          <p:cNvSpPr txBox="1">
            <a:spLocks noChangeArrowheads="1"/>
          </p:cNvSpPr>
          <p:nvPr/>
        </p:nvSpPr>
        <p:spPr bwMode="gray">
          <a:xfrm>
            <a:off x="9878188" y="2937949"/>
            <a:ext cx="1841500" cy="763927"/>
          </a:xfrm>
          <a:prstGeom prst="rect">
            <a:avLst/>
          </a:prstGeom>
          <a:noFill/>
          <a:ln w="9525">
            <a:noFill/>
            <a:miter lim="800000"/>
            <a:headEnd/>
            <a:tailEnd/>
          </a:ln>
        </p:spPr>
        <p:txBody>
          <a:bodyPr wrap="square" lIns="0" tIns="0" rIns="0" bIns="0">
            <a:spAutoFit/>
          </a:bodyPr>
          <a:lstStyle/>
          <a:p>
            <a:pPr algn="r" defTabSz="801688">
              <a:lnSpc>
                <a:spcPct val="93000"/>
              </a:lnSpc>
              <a:spcBef>
                <a:spcPct val="0"/>
              </a:spcBef>
              <a:spcAft>
                <a:spcPts val="600"/>
              </a:spcAft>
            </a:pPr>
            <a:r>
              <a:rPr lang="en-GB" sz="2000" noProof="1">
                <a:cs typeface="Arial" charset="0"/>
              </a:rPr>
              <a:t>Description 2</a:t>
            </a:r>
          </a:p>
          <a:p>
            <a:pPr algn="r" defTabSz="801688">
              <a:lnSpc>
                <a:spcPct val="93000"/>
              </a:lnSpc>
              <a:spcBef>
                <a:spcPct val="0"/>
              </a:spcBef>
              <a:spcAft>
                <a:spcPts val="1200"/>
              </a:spcAft>
            </a:pPr>
            <a:r>
              <a:rPr lang="en-GB" sz="1400" noProof="1"/>
              <a:t>Text can be replaced with your own text.</a:t>
            </a:r>
          </a:p>
        </p:txBody>
      </p:sp>
      <p:sp>
        <p:nvSpPr>
          <p:cNvPr id="36" name="Text Box 53" descr="© INSCALE GmbH, 26.05.2010&#10;http://www.presentationload.com/"/>
          <p:cNvSpPr txBox="1">
            <a:spLocks noChangeArrowheads="1"/>
          </p:cNvSpPr>
          <p:nvPr/>
        </p:nvSpPr>
        <p:spPr bwMode="gray">
          <a:xfrm>
            <a:off x="482600" y="2937949"/>
            <a:ext cx="1841500" cy="763927"/>
          </a:xfrm>
          <a:prstGeom prst="rect">
            <a:avLst/>
          </a:prstGeom>
          <a:noFill/>
          <a:ln w="9525">
            <a:noFill/>
            <a:miter lim="800000"/>
            <a:headEnd/>
            <a:tailEnd/>
          </a:ln>
        </p:spPr>
        <p:txBody>
          <a:bodyPr wrap="square" lIns="0" tIns="0" rIns="0" bIns="0">
            <a:spAutoFit/>
          </a:bodyPr>
          <a:lstStyle/>
          <a:p>
            <a:pPr defTabSz="801688">
              <a:lnSpc>
                <a:spcPct val="93000"/>
              </a:lnSpc>
              <a:spcBef>
                <a:spcPct val="0"/>
              </a:spcBef>
              <a:spcAft>
                <a:spcPts val="600"/>
              </a:spcAft>
            </a:pPr>
            <a:r>
              <a:rPr lang="en-GB" sz="2000" noProof="1">
                <a:cs typeface="Arial" charset="0"/>
              </a:rPr>
              <a:t>Description 1</a:t>
            </a:r>
          </a:p>
          <a:p>
            <a:pPr defTabSz="801688">
              <a:lnSpc>
                <a:spcPct val="93000"/>
              </a:lnSpc>
              <a:spcBef>
                <a:spcPct val="0"/>
              </a:spcBef>
              <a:spcAft>
                <a:spcPts val="1200"/>
              </a:spcAft>
            </a:pPr>
            <a:r>
              <a:rPr lang="en-GB" sz="1400" noProof="1"/>
              <a:t>Text can be replaced with your own text.</a:t>
            </a:r>
          </a:p>
        </p:txBody>
      </p:sp>
      <p:sp>
        <p:nvSpPr>
          <p:cNvPr id="37" name="Text Box 53" descr="© INSCALE GmbH, 26.05.2010&#10;http://www.presentationload.com/"/>
          <p:cNvSpPr txBox="1">
            <a:spLocks noChangeArrowheads="1"/>
          </p:cNvSpPr>
          <p:nvPr/>
        </p:nvSpPr>
        <p:spPr bwMode="gray">
          <a:xfrm>
            <a:off x="9878188" y="4135460"/>
            <a:ext cx="1841500" cy="763927"/>
          </a:xfrm>
          <a:prstGeom prst="rect">
            <a:avLst/>
          </a:prstGeom>
          <a:noFill/>
          <a:ln w="9525">
            <a:noFill/>
            <a:miter lim="800000"/>
            <a:headEnd/>
            <a:tailEnd/>
          </a:ln>
        </p:spPr>
        <p:txBody>
          <a:bodyPr wrap="square" lIns="0" tIns="0" rIns="0" bIns="0">
            <a:spAutoFit/>
          </a:bodyPr>
          <a:lstStyle/>
          <a:p>
            <a:pPr algn="r" defTabSz="801688">
              <a:lnSpc>
                <a:spcPct val="93000"/>
              </a:lnSpc>
              <a:spcBef>
                <a:spcPct val="0"/>
              </a:spcBef>
              <a:spcAft>
                <a:spcPts val="600"/>
              </a:spcAft>
            </a:pPr>
            <a:r>
              <a:rPr lang="en-GB" sz="2000" noProof="1">
                <a:cs typeface="Arial" charset="0"/>
              </a:rPr>
              <a:t>Description 2</a:t>
            </a:r>
          </a:p>
          <a:p>
            <a:pPr algn="r" defTabSz="801688">
              <a:lnSpc>
                <a:spcPct val="93000"/>
              </a:lnSpc>
              <a:spcBef>
                <a:spcPct val="0"/>
              </a:spcBef>
              <a:spcAft>
                <a:spcPts val="1200"/>
              </a:spcAft>
            </a:pPr>
            <a:r>
              <a:rPr lang="en-GB" sz="1400" noProof="1"/>
              <a:t>Text can be replaced with your own text.</a:t>
            </a:r>
          </a:p>
        </p:txBody>
      </p:sp>
      <p:sp>
        <p:nvSpPr>
          <p:cNvPr id="38" name="Text Box 53" descr="© INSCALE GmbH, 26.05.2010&#10;http://www.presentationload.com/"/>
          <p:cNvSpPr txBox="1">
            <a:spLocks noChangeArrowheads="1"/>
          </p:cNvSpPr>
          <p:nvPr/>
        </p:nvSpPr>
        <p:spPr bwMode="gray">
          <a:xfrm>
            <a:off x="482600" y="4135460"/>
            <a:ext cx="1841500" cy="763927"/>
          </a:xfrm>
          <a:prstGeom prst="rect">
            <a:avLst/>
          </a:prstGeom>
          <a:noFill/>
          <a:ln w="9525">
            <a:noFill/>
            <a:miter lim="800000"/>
            <a:headEnd/>
            <a:tailEnd/>
          </a:ln>
        </p:spPr>
        <p:txBody>
          <a:bodyPr wrap="square" lIns="0" tIns="0" rIns="0" bIns="0">
            <a:spAutoFit/>
          </a:bodyPr>
          <a:lstStyle/>
          <a:p>
            <a:pPr defTabSz="801688">
              <a:lnSpc>
                <a:spcPct val="93000"/>
              </a:lnSpc>
              <a:spcBef>
                <a:spcPct val="0"/>
              </a:spcBef>
              <a:spcAft>
                <a:spcPts val="600"/>
              </a:spcAft>
            </a:pPr>
            <a:r>
              <a:rPr lang="en-GB" sz="2000" noProof="1">
                <a:cs typeface="Arial" charset="0"/>
              </a:rPr>
              <a:t>Description 1</a:t>
            </a:r>
          </a:p>
          <a:p>
            <a:pPr defTabSz="801688">
              <a:lnSpc>
                <a:spcPct val="93000"/>
              </a:lnSpc>
              <a:spcBef>
                <a:spcPct val="0"/>
              </a:spcBef>
              <a:spcAft>
                <a:spcPts val="1200"/>
              </a:spcAft>
            </a:pPr>
            <a:r>
              <a:rPr lang="en-GB" sz="1400" noProof="1"/>
              <a:t>Text can be replaced with your own text.</a:t>
            </a:r>
          </a:p>
        </p:txBody>
      </p:sp>
    </p:spTree>
    <p:custDataLst>
      <p:tags r:id="rId1"/>
    </p:custDataLst>
    <p:extLst>
      <p:ext uri="{BB962C8B-B14F-4D97-AF65-F5344CB8AC3E}">
        <p14:creationId xmlns:p14="http://schemas.microsoft.com/office/powerpoint/2010/main" val="680196049"/>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8B001F95-4903-49C2-AB12-B22A1FE280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11" name="Objekt 10" hidden="1">
                        <a:extLst>
                          <a:ext uri="{FF2B5EF4-FFF2-40B4-BE49-F238E27FC236}">
                            <a16:creationId xmlns:a16="http://schemas.microsoft.com/office/drawing/2014/main" id="{8B001F95-4903-49C2-AB12-B22A1FE280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a:xfrm>
            <a:off x="488950" y="347663"/>
            <a:ext cx="11225213" cy="400110"/>
          </a:xfrm>
        </p:spPr>
        <p:txBody>
          <a:bodyPr vert="horz"/>
          <a:lstStyle/>
          <a:p>
            <a:r>
              <a:rPr lang="en-GB"/>
              <a:t>SWOT.</a:t>
            </a:r>
            <a:endParaRPr lang="en-GB" dirty="0"/>
          </a:p>
        </p:txBody>
      </p:sp>
      <p:graphicFrame>
        <p:nvGraphicFramePr>
          <p:cNvPr id="2" name="Tabelle 1"/>
          <p:cNvGraphicFramePr>
            <a:graphicFrameLocks noGrp="1"/>
          </p:cNvGraphicFramePr>
          <p:nvPr>
            <p:custDataLst>
              <p:tags r:id="rId3"/>
            </p:custDataLst>
          </p:nvPr>
        </p:nvGraphicFramePr>
        <p:xfrm>
          <a:off x="482600" y="1416050"/>
          <a:ext cx="5397500" cy="1730375"/>
        </p:xfrm>
        <a:graphic>
          <a:graphicData uri="http://schemas.openxmlformats.org/drawingml/2006/table">
            <a:tbl>
              <a:tblPr firstRow="1" bandRow="1">
                <a:tableStyleId>{C083E6E3-FA7D-4D7B-A595-EF9225AFEA82}</a:tableStyleId>
              </a:tblPr>
              <a:tblGrid>
                <a:gridCol w="5397500">
                  <a:extLst>
                    <a:ext uri="{9D8B030D-6E8A-4147-A177-3AD203B41FA5}">
                      <a16:colId xmlns:a16="http://schemas.microsoft.com/office/drawing/2014/main" val="521832481"/>
                    </a:ext>
                  </a:extLst>
                </a:gridCol>
              </a:tblGrid>
              <a:tr h="0">
                <a:tc>
                  <a:txBody>
                    <a:bodyPr/>
                    <a:lstStyle>
                      <a:lvl1pPr marL="190800" indent="-190800" algn="l" defTabSz="914400" rtl="0" eaLnBrk="1" latinLnBrk="0" hangingPunct="1">
                        <a:buClr>
                          <a:srgbClr val="7F7F7F"/>
                        </a:buClr>
                        <a:buFont typeface="Wingdings" panose="05000000000000000000" pitchFamily="2" charset="2"/>
                        <a:buChar char="§"/>
                      </a:lvl1pPr>
                      <a:lvl2pPr marL="381600" indent="-190800" algn="l" defTabSz="914400" rtl="0" eaLnBrk="1" latinLnBrk="0" hangingPunct="1">
                        <a:buClr>
                          <a:srgbClr val="7F7F7F"/>
                        </a:buClr>
                        <a:buFont typeface="BMW Group Condensed" panose="020B0606020202020204" pitchFamily="34" charset="0"/>
                        <a:buChar char="-"/>
                      </a:lvl2pPr>
                      <a:lvl3pPr marL="572400" indent="-190800" algn="l" defTabSz="914400" rtl="0" eaLnBrk="1" latinLnBrk="0" hangingPunct="1">
                        <a:buClr>
                          <a:srgbClr val="7F7F7F"/>
                        </a:buClr>
                        <a:buFont typeface="BMW Group Condensed" panose="020B0606020202020204" pitchFamily="34" charset="0"/>
                        <a:buChar char="-"/>
                      </a:lvl3pPr>
                      <a:lvl4pPr marL="763200" indent="-190800" algn="l" defTabSz="914400" rtl="0" eaLnBrk="1" latinLnBrk="0" hangingPunct="1">
                        <a:buClr>
                          <a:srgbClr val="7F7F7F"/>
                        </a:buClr>
                        <a:buFont typeface="BMW Group Condensed" panose="020B0606020202020204" pitchFamily="34" charset="0"/>
                        <a:buChar char="-"/>
                      </a:lvl4pPr>
                      <a:lvl5pPr marL="954000" indent="-190800" algn="l" defTabSz="914400" rtl="0" eaLnBrk="1" latinLnBrk="0" hangingPunct="1">
                        <a:buClr>
                          <a:srgbClr val="7F7F7F"/>
                        </a:buClr>
                        <a:buFont typeface="BMW Group Condensed" panose="020B0606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indent="0" algn="l">
                        <a:lnSpc>
                          <a:spcPct val="93000"/>
                        </a:lnSpc>
                        <a:buNone/>
                        <a:tabLst/>
                      </a:pPr>
                      <a:r>
                        <a:rPr lang="en-GB" sz="1800" b="0" dirty="0" err="1">
                          <a:solidFill>
                            <a:srgbClr val="000000"/>
                          </a:solidFill>
                          <a:latin typeface="BMWGroupTN Condensed" pitchFamily="50" charset="0"/>
                          <a:sym typeface="BMW Group Condensed" panose="020B0606020202020204" pitchFamily="34" charset="0"/>
                        </a:rPr>
                        <a:t>trengths</a:t>
                      </a:r>
                      <a:endParaRPr lang="en-GB" sz="1800" b="0" dirty="0">
                        <a:solidFill>
                          <a:srgbClr val="000000"/>
                        </a:solidFill>
                        <a:latin typeface="BMWGroupTN Condensed" pitchFamily="50" charset="0"/>
                        <a:sym typeface="BMW Group Condensed" panose="020B0606020202020204" pitchFamily="34" charset="0"/>
                      </a:endParaRPr>
                    </a:p>
                  </a:txBody>
                  <a:tcPr marL="468000" marR="72009" marT="35941" marB="35941"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0" cmpd="sng">
                      <a:solidFill>
                        <a:schemeClr val="accent3"/>
                      </a:solidFill>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1228815908"/>
                  </a:ext>
                </a:extLst>
              </a:tr>
              <a:tr h="370840">
                <a:tc>
                  <a:txBody>
                    <a:bodyPr/>
                    <a:lstStyle>
                      <a:lvl1pPr marL="190800" indent="-190800" algn="l" defTabSz="914400" rtl="0" eaLnBrk="1" latinLnBrk="0" hangingPunct="1">
                        <a:buClr>
                          <a:srgbClr val="7F7F7F"/>
                        </a:buClr>
                        <a:buFont typeface="Wingdings" panose="05000000000000000000" pitchFamily="2" charset="2"/>
                        <a:buChar char="§"/>
                      </a:lvl1pPr>
                      <a:lvl2pPr marL="381600" indent="-190800" algn="l" defTabSz="914400" rtl="0" eaLnBrk="1" latinLnBrk="0" hangingPunct="1">
                        <a:buClr>
                          <a:srgbClr val="7F7F7F"/>
                        </a:buClr>
                        <a:buFont typeface="BMW Group Condensed" panose="020B0606020202020204" pitchFamily="34" charset="0"/>
                        <a:buChar char="-"/>
                      </a:lvl2pPr>
                      <a:lvl3pPr marL="572400" indent="-190800" algn="l" defTabSz="914400" rtl="0" eaLnBrk="1" latinLnBrk="0" hangingPunct="1">
                        <a:buClr>
                          <a:srgbClr val="7F7F7F"/>
                        </a:buClr>
                        <a:buFont typeface="BMW Group Condensed" panose="020B0606020202020204" pitchFamily="34" charset="0"/>
                        <a:buChar char="-"/>
                      </a:lvl3pPr>
                      <a:lvl4pPr marL="763200" indent="-190800" algn="l" defTabSz="914400" rtl="0" eaLnBrk="1" latinLnBrk="0" hangingPunct="1">
                        <a:buClr>
                          <a:srgbClr val="7F7F7F"/>
                        </a:buClr>
                        <a:buFont typeface="BMW Group Condensed" panose="020B0606020202020204" pitchFamily="34" charset="0"/>
                        <a:buChar char="-"/>
                      </a:lvl4pPr>
                      <a:lvl5pPr marL="954000" indent="-190800" algn="l" defTabSz="914400" rtl="0" eaLnBrk="1" latinLnBrk="0" hangingPunct="1">
                        <a:buClr>
                          <a:srgbClr val="7F7F7F"/>
                        </a:buClr>
                        <a:buFont typeface="BMW Group Condensed" panose="020B0606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a:spcAft>
                          <a:spcPts val="600"/>
                        </a:spcAft>
                      </a:pPr>
                      <a:r>
                        <a:rPr lang="en-GB" sz="1600" b="0" dirty="0"/>
                        <a:t>Lorem ipsum </a:t>
                      </a:r>
                      <a:r>
                        <a:rPr lang="en-GB" sz="1600" b="0" dirty="0" err="1"/>
                        <a:t>dolor</a:t>
                      </a:r>
                      <a:r>
                        <a:rPr lang="en-GB" sz="1600" b="0" dirty="0"/>
                        <a:t> sit </a:t>
                      </a:r>
                      <a:r>
                        <a:rPr lang="en-GB" sz="1600" b="0" dirty="0" err="1"/>
                        <a:t>amet</a:t>
                      </a:r>
                      <a:r>
                        <a:rPr lang="en-GB" sz="1600" b="0" dirty="0"/>
                        <a:t>, </a:t>
                      </a:r>
                      <a:r>
                        <a:rPr lang="en-GB" sz="1600" b="0" dirty="0" err="1"/>
                        <a:t>consectetuer</a:t>
                      </a:r>
                      <a:r>
                        <a:rPr lang="en-GB" sz="1600" b="0" dirty="0"/>
                        <a:t> </a:t>
                      </a:r>
                      <a:r>
                        <a:rPr lang="en-GB" sz="1600" b="0" dirty="0" err="1"/>
                        <a:t>adipiscing</a:t>
                      </a:r>
                      <a:r>
                        <a:rPr lang="en-GB" sz="1600" b="0" dirty="0"/>
                        <a:t> </a:t>
                      </a:r>
                      <a:r>
                        <a:rPr lang="en-GB" sz="1600" b="0" dirty="0" err="1"/>
                        <a:t>elit</a:t>
                      </a:r>
                      <a:r>
                        <a:rPr lang="en-GB" sz="1600" b="0" dirty="0"/>
                        <a:t>. Maecenas </a:t>
                      </a:r>
                      <a:r>
                        <a:rPr lang="en-GB" sz="1600" b="0" dirty="0" err="1"/>
                        <a:t>porttitor</a:t>
                      </a:r>
                      <a:r>
                        <a:rPr lang="en-GB" sz="1600" b="0" dirty="0"/>
                        <a:t> </a:t>
                      </a:r>
                      <a:r>
                        <a:rPr lang="en-GB" sz="1600" b="0" dirty="0" err="1"/>
                        <a:t>congue</a:t>
                      </a:r>
                      <a:r>
                        <a:rPr lang="en-GB" sz="1600" b="0" dirty="0"/>
                        <a:t> </a:t>
                      </a:r>
                      <a:r>
                        <a:rPr lang="en-GB" sz="1600" b="0" dirty="0" err="1"/>
                        <a:t>massa</a:t>
                      </a:r>
                      <a:r>
                        <a:rPr lang="en-GB" sz="1600" b="0" dirty="0"/>
                        <a:t>. </a:t>
                      </a:r>
                      <a:r>
                        <a:rPr lang="en-GB" sz="1600" b="0" dirty="0" err="1"/>
                        <a:t>Fusce</a:t>
                      </a:r>
                      <a:r>
                        <a:rPr lang="en-GB" sz="1600" b="0" dirty="0"/>
                        <a:t> </a:t>
                      </a:r>
                      <a:r>
                        <a:rPr lang="en-GB" sz="1600" b="0" dirty="0" err="1"/>
                        <a:t>posuere</a:t>
                      </a:r>
                      <a:r>
                        <a:rPr lang="en-GB" sz="1600" b="0" dirty="0"/>
                        <a:t>, magna </a:t>
                      </a:r>
                      <a:r>
                        <a:rPr lang="en-GB" sz="1600" b="0" dirty="0" err="1"/>
                        <a:t>sed</a:t>
                      </a:r>
                      <a:r>
                        <a:rPr lang="en-GB" sz="1600" b="0" dirty="0"/>
                        <a:t> pulvinar </a:t>
                      </a:r>
                      <a:r>
                        <a:rPr lang="en-GB" sz="1600" b="0" dirty="0" err="1"/>
                        <a:t>ultricies</a:t>
                      </a:r>
                      <a:r>
                        <a:rPr lang="en-GB" sz="1600" b="0" dirty="0"/>
                        <a:t>, </a:t>
                      </a:r>
                      <a:r>
                        <a:rPr lang="en-GB" sz="1600" b="0" dirty="0" err="1"/>
                        <a:t>purus</a:t>
                      </a:r>
                      <a:r>
                        <a:rPr lang="en-GB" sz="1600" b="0" dirty="0"/>
                        <a:t> </a:t>
                      </a:r>
                      <a:r>
                        <a:rPr lang="en-GB" sz="1600" b="0" dirty="0" err="1"/>
                        <a:t>lectus</a:t>
                      </a:r>
                      <a:r>
                        <a:rPr lang="en-GB" sz="1600" b="0" dirty="0"/>
                        <a:t> </a:t>
                      </a:r>
                      <a:r>
                        <a:rPr lang="en-GB" sz="1600" b="0" dirty="0" err="1"/>
                        <a:t>malesuada</a:t>
                      </a:r>
                      <a:r>
                        <a:rPr lang="en-GB" sz="1600" b="0" dirty="0"/>
                        <a:t> libero, sit </a:t>
                      </a:r>
                      <a:r>
                        <a:rPr lang="en-GB" sz="1600" b="0" dirty="0" err="1"/>
                        <a:t>amet</a:t>
                      </a:r>
                      <a:r>
                        <a:rPr lang="en-GB" sz="1600" b="0" dirty="0"/>
                        <a:t> </a:t>
                      </a:r>
                      <a:r>
                        <a:rPr lang="en-GB" sz="1600" b="0" dirty="0" err="1"/>
                        <a:t>commodo</a:t>
                      </a:r>
                      <a:r>
                        <a:rPr lang="en-GB" sz="1600" b="0" dirty="0"/>
                        <a:t> magna eros </a:t>
                      </a:r>
                      <a:r>
                        <a:rPr lang="en-GB" sz="1600" b="0" dirty="0" err="1"/>
                        <a:t>quis</a:t>
                      </a:r>
                      <a:r>
                        <a:rPr lang="en-GB" sz="1600" b="0" dirty="0"/>
                        <a:t> </a:t>
                      </a:r>
                      <a:r>
                        <a:rPr lang="en-GB" sz="1600" b="0" dirty="0" err="1"/>
                        <a:t>urna</a:t>
                      </a:r>
                      <a:r>
                        <a:rPr lang="en-GB" sz="1600" b="0" dirty="0"/>
                        <a:t>.</a:t>
                      </a:r>
                    </a:p>
                    <a:p>
                      <a:pPr>
                        <a:spcAft>
                          <a:spcPts val="600"/>
                        </a:spcAft>
                      </a:pPr>
                      <a:r>
                        <a:rPr lang="en-GB" sz="1600" b="0" dirty="0"/>
                        <a:t>Nunc </a:t>
                      </a:r>
                      <a:r>
                        <a:rPr lang="en-GB" sz="1600" b="0" dirty="0" err="1"/>
                        <a:t>viverra</a:t>
                      </a:r>
                      <a:r>
                        <a:rPr lang="en-GB" sz="1600" b="0" dirty="0"/>
                        <a:t> </a:t>
                      </a:r>
                      <a:r>
                        <a:rPr lang="en-GB" sz="1600" b="0" dirty="0" err="1"/>
                        <a:t>imperdiet</a:t>
                      </a:r>
                      <a:r>
                        <a:rPr lang="en-GB" sz="1600" b="0" dirty="0"/>
                        <a:t> </a:t>
                      </a:r>
                      <a:r>
                        <a:rPr lang="en-GB" sz="1600" b="0" dirty="0" err="1"/>
                        <a:t>enim</a:t>
                      </a:r>
                      <a:r>
                        <a:rPr lang="en-GB" sz="1600" b="0" dirty="0"/>
                        <a:t>. </a:t>
                      </a:r>
                      <a:r>
                        <a:rPr lang="en-GB" sz="1600" b="0" dirty="0" err="1"/>
                        <a:t>Fusce</a:t>
                      </a:r>
                      <a:r>
                        <a:rPr lang="en-GB" sz="1600" b="0" dirty="0"/>
                        <a:t> est. </a:t>
                      </a:r>
                      <a:r>
                        <a:rPr lang="en-GB" sz="1600" b="0" dirty="0" err="1"/>
                        <a:t>Vivamus</a:t>
                      </a:r>
                      <a:r>
                        <a:rPr lang="en-GB" sz="1600" b="0" dirty="0"/>
                        <a:t> a </a:t>
                      </a:r>
                      <a:r>
                        <a:rPr lang="en-GB" sz="1600" b="0" dirty="0" err="1"/>
                        <a:t>tellus</a:t>
                      </a:r>
                      <a:r>
                        <a:rPr lang="en-GB" sz="1600" b="0" dirty="0"/>
                        <a:t>.</a:t>
                      </a:r>
                    </a:p>
                  </a:txBody>
                  <a:tcPr marL="72009" marR="72009" marT="72009"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noFill/>
                  </a:tcPr>
                </a:tc>
                <a:extLst>
                  <a:ext uri="{0D108BD9-81ED-4DB2-BD59-A6C34878D82A}">
                    <a16:rowId xmlns:a16="http://schemas.microsoft.com/office/drawing/2014/main" val="3887595378"/>
                  </a:ext>
                </a:extLst>
              </a:tr>
            </a:tbl>
          </a:graphicData>
        </a:graphic>
      </p:graphicFrame>
      <p:graphicFrame>
        <p:nvGraphicFramePr>
          <p:cNvPr id="4" name="Tabelle 3"/>
          <p:cNvGraphicFramePr>
            <a:graphicFrameLocks noGrp="1"/>
          </p:cNvGraphicFramePr>
          <p:nvPr/>
        </p:nvGraphicFramePr>
        <p:xfrm>
          <a:off x="6324600" y="1416050"/>
          <a:ext cx="5397500" cy="1730375"/>
        </p:xfrm>
        <a:graphic>
          <a:graphicData uri="http://schemas.openxmlformats.org/drawingml/2006/table">
            <a:tbl>
              <a:tblPr firstRow="1" bandRow="1">
                <a:tableStyleId>{C083E6E3-FA7D-4D7B-A595-EF9225AFEA82}</a:tableStyleId>
              </a:tblPr>
              <a:tblGrid>
                <a:gridCol w="5397500">
                  <a:extLst>
                    <a:ext uri="{9D8B030D-6E8A-4147-A177-3AD203B41FA5}">
                      <a16:colId xmlns:a16="http://schemas.microsoft.com/office/drawing/2014/main" val="521832481"/>
                    </a:ext>
                  </a:extLst>
                </a:gridCol>
              </a:tblGrid>
              <a:tr h="120142">
                <a:tc>
                  <a:txBody>
                    <a:bodyPr/>
                    <a:lstStyle/>
                    <a:p>
                      <a:pPr algn="l">
                        <a:lnSpc>
                          <a:spcPct val="93000"/>
                        </a:lnSpc>
                      </a:pPr>
                      <a:r>
                        <a:rPr lang="en-GB" sz="1800" b="0" dirty="0" err="1">
                          <a:solidFill>
                            <a:srgbClr val="000000"/>
                          </a:solidFill>
                          <a:latin typeface="BMWGroupTN Condensed" pitchFamily="50" charset="0"/>
                          <a:sym typeface="BMW Group Condensed" panose="020B0606020202020204" pitchFamily="34" charset="0"/>
                        </a:rPr>
                        <a:t>eaknesses</a:t>
                      </a:r>
                      <a:endParaRPr lang="en-GB" sz="1800" b="0" dirty="0">
                        <a:solidFill>
                          <a:srgbClr val="000000"/>
                        </a:solidFill>
                        <a:latin typeface="BMWGroupTN Condensed" pitchFamily="50" charset="0"/>
                        <a:sym typeface="BMW Group Condensed" panose="020B0606020202020204" pitchFamily="34" charset="0"/>
                      </a:endParaRPr>
                    </a:p>
                  </a:txBody>
                  <a:tcPr marL="540000"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0" cmpd="sng">
                      <a:solidFill>
                        <a:schemeClr val="accent3"/>
                      </a:solidFill>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1228815908"/>
                  </a:ext>
                </a:extLst>
              </a:tr>
              <a:tr h="370840">
                <a:tc>
                  <a:txBody>
                    <a:bodyPr/>
                    <a:lstStyle/>
                    <a:p>
                      <a:pPr marL="190500" indent="-190500">
                        <a:lnSpc>
                          <a:spcPct val="100000"/>
                        </a:lnSpc>
                        <a:spcAft>
                          <a:spcPts val="600"/>
                        </a:spcAft>
                        <a:buClr>
                          <a:srgbClr val="7F7F7F"/>
                        </a:buClr>
                        <a:buFont typeface="Wingdings" panose="05000000000000000000" pitchFamily="2" charset="2"/>
                        <a:buChar char="§"/>
                      </a:pPr>
                      <a:r>
                        <a:rPr lang="en-GB" sz="1600" dirty="0"/>
                        <a:t>Lorem ipsum </a:t>
                      </a:r>
                      <a:r>
                        <a:rPr lang="en-GB" sz="1600" dirty="0" err="1"/>
                        <a:t>dolor</a:t>
                      </a:r>
                      <a:r>
                        <a:rPr lang="en-GB" sz="1600" dirty="0"/>
                        <a:t> sit </a:t>
                      </a:r>
                      <a:r>
                        <a:rPr lang="en-GB" sz="1600" dirty="0" err="1"/>
                        <a:t>amet</a:t>
                      </a:r>
                      <a:r>
                        <a:rPr lang="en-GB" sz="1600" dirty="0"/>
                        <a:t>, </a:t>
                      </a:r>
                      <a:r>
                        <a:rPr lang="en-GB" sz="1600" dirty="0" err="1"/>
                        <a:t>consectetuer</a:t>
                      </a:r>
                      <a:r>
                        <a:rPr lang="en-GB" sz="1600" dirty="0"/>
                        <a:t> </a:t>
                      </a:r>
                      <a:r>
                        <a:rPr lang="en-GB" sz="1600" dirty="0" err="1"/>
                        <a:t>adipiscing</a:t>
                      </a:r>
                      <a:r>
                        <a:rPr lang="en-GB" sz="1600" dirty="0"/>
                        <a:t> </a:t>
                      </a:r>
                      <a:r>
                        <a:rPr lang="en-GB" sz="1600" dirty="0" err="1"/>
                        <a:t>elit</a:t>
                      </a:r>
                      <a:r>
                        <a:rPr lang="en-GB" sz="1600" dirty="0"/>
                        <a:t>. Maecenas </a:t>
                      </a:r>
                      <a:r>
                        <a:rPr lang="en-GB" sz="1600" dirty="0" err="1"/>
                        <a:t>porttitor</a:t>
                      </a:r>
                      <a:r>
                        <a:rPr lang="en-GB" sz="1600" dirty="0"/>
                        <a:t> </a:t>
                      </a:r>
                      <a:r>
                        <a:rPr lang="en-GB" sz="1600" dirty="0" err="1"/>
                        <a:t>congue</a:t>
                      </a:r>
                      <a:r>
                        <a:rPr lang="en-GB" sz="1600" dirty="0"/>
                        <a:t> </a:t>
                      </a:r>
                      <a:r>
                        <a:rPr lang="en-GB" sz="1600" dirty="0" err="1"/>
                        <a:t>massa</a:t>
                      </a:r>
                      <a:r>
                        <a:rPr lang="en-GB" sz="1600" dirty="0"/>
                        <a:t>. </a:t>
                      </a:r>
                      <a:r>
                        <a:rPr lang="en-GB" sz="1600" dirty="0" err="1"/>
                        <a:t>Fusce</a:t>
                      </a:r>
                      <a:r>
                        <a:rPr lang="en-GB" sz="1600" dirty="0"/>
                        <a:t> </a:t>
                      </a:r>
                      <a:r>
                        <a:rPr lang="en-GB" sz="1600" dirty="0" err="1"/>
                        <a:t>posuere</a:t>
                      </a:r>
                      <a:r>
                        <a:rPr lang="en-GB" sz="1600" dirty="0"/>
                        <a:t>, magna </a:t>
                      </a:r>
                      <a:r>
                        <a:rPr lang="en-GB" sz="1600" dirty="0" err="1"/>
                        <a:t>sed</a:t>
                      </a:r>
                      <a:r>
                        <a:rPr lang="en-GB" sz="1600" dirty="0"/>
                        <a:t> pulvinar </a:t>
                      </a:r>
                      <a:r>
                        <a:rPr lang="en-GB" sz="1600" dirty="0" err="1"/>
                        <a:t>ultricies</a:t>
                      </a:r>
                      <a:r>
                        <a:rPr lang="en-GB" sz="1600" dirty="0"/>
                        <a:t>, </a:t>
                      </a:r>
                      <a:r>
                        <a:rPr lang="en-GB" sz="1600" dirty="0" err="1"/>
                        <a:t>purus</a:t>
                      </a:r>
                      <a:r>
                        <a:rPr lang="en-GB" sz="1600" dirty="0"/>
                        <a:t> </a:t>
                      </a:r>
                      <a:r>
                        <a:rPr lang="en-GB" sz="1600" dirty="0" err="1"/>
                        <a:t>lectus</a:t>
                      </a:r>
                      <a:r>
                        <a:rPr lang="en-GB" sz="1600" dirty="0"/>
                        <a:t> </a:t>
                      </a:r>
                      <a:r>
                        <a:rPr lang="en-GB" sz="1600" dirty="0" err="1"/>
                        <a:t>malesuada</a:t>
                      </a:r>
                      <a:r>
                        <a:rPr lang="en-GB" sz="1600" dirty="0"/>
                        <a:t> libero, sit </a:t>
                      </a:r>
                      <a:r>
                        <a:rPr lang="en-GB" sz="1600" dirty="0" err="1"/>
                        <a:t>amet</a:t>
                      </a:r>
                      <a:r>
                        <a:rPr lang="en-GB" sz="1600" dirty="0"/>
                        <a:t> </a:t>
                      </a:r>
                      <a:r>
                        <a:rPr lang="en-GB" sz="1600" dirty="0" err="1"/>
                        <a:t>commodo</a:t>
                      </a:r>
                      <a:r>
                        <a:rPr lang="en-GB" sz="1600" dirty="0"/>
                        <a:t> magna eros </a:t>
                      </a:r>
                      <a:r>
                        <a:rPr lang="en-GB" sz="1600" dirty="0" err="1"/>
                        <a:t>quis</a:t>
                      </a:r>
                      <a:r>
                        <a:rPr lang="en-GB" sz="1600" dirty="0"/>
                        <a:t> </a:t>
                      </a:r>
                      <a:r>
                        <a:rPr lang="en-GB" sz="1600" dirty="0" err="1"/>
                        <a:t>urna</a:t>
                      </a:r>
                      <a:r>
                        <a:rPr lang="en-GB" sz="1600" dirty="0"/>
                        <a:t>.</a:t>
                      </a:r>
                    </a:p>
                    <a:p>
                      <a:pPr marL="190500" indent="-190500">
                        <a:lnSpc>
                          <a:spcPct val="100000"/>
                        </a:lnSpc>
                        <a:spcAft>
                          <a:spcPts val="600"/>
                        </a:spcAft>
                        <a:buClr>
                          <a:srgbClr val="7F7F7F"/>
                        </a:buClr>
                        <a:buFont typeface="Wingdings" panose="05000000000000000000" pitchFamily="2" charset="2"/>
                        <a:buChar char="§"/>
                      </a:pPr>
                      <a:r>
                        <a:rPr lang="en-GB" sz="1600" dirty="0"/>
                        <a:t>Nunc </a:t>
                      </a:r>
                      <a:r>
                        <a:rPr lang="en-GB" sz="1600" dirty="0" err="1"/>
                        <a:t>viverra</a:t>
                      </a:r>
                      <a:r>
                        <a:rPr lang="en-GB" sz="1600" dirty="0"/>
                        <a:t> </a:t>
                      </a:r>
                      <a:r>
                        <a:rPr lang="en-GB" sz="1600" dirty="0" err="1"/>
                        <a:t>imperdiet</a:t>
                      </a:r>
                      <a:r>
                        <a:rPr lang="en-GB" sz="1600" dirty="0"/>
                        <a:t> </a:t>
                      </a:r>
                      <a:r>
                        <a:rPr lang="en-GB" sz="1600" dirty="0" err="1"/>
                        <a:t>enim</a:t>
                      </a:r>
                      <a:r>
                        <a:rPr lang="en-GB" sz="1600" dirty="0"/>
                        <a:t>. </a:t>
                      </a:r>
                      <a:r>
                        <a:rPr lang="en-GB" sz="1600" dirty="0" err="1"/>
                        <a:t>Fusce</a:t>
                      </a:r>
                      <a:r>
                        <a:rPr lang="en-GB" sz="1600" dirty="0"/>
                        <a:t> est. </a:t>
                      </a:r>
                      <a:r>
                        <a:rPr lang="en-GB" sz="1600" dirty="0" err="1"/>
                        <a:t>Vivamus</a:t>
                      </a:r>
                      <a:r>
                        <a:rPr lang="en-GB" sz="1600" dirty="0"/>
                        <a:t> a </a:t>
                      </a:r>
                      <a:r>
                        <a:rPr lang="en-GB" sz="1600" dirty="0" err="1"/>
                        <a:t>tellus</a:t>
                      </a:r>
                      <a:r>
                        <a:rPr lang="en-GB" sz="1600" dirty="0"/>
                        <a:t>.</a:t>
                      </a:r>
                    </a:p>
                  </a:txBody>
                  <a:tcPr marL="72009" marR="72009" marT="72009"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noFill/>
                  </a:tcPr>
                </a:tc>
                <a:extLst>
                  <a:ext uri="{0D108BD9-81ED-4DB2-BD59-A6C34878D82A}">
                    <a16:rowId xmlns:a16="http://schemas.microsoft.com/office/drawing/2014/main" val="3887595378"/>
                  </a:ext>
                </a:extLst>
              </a:tr>
            </a:tbl>
          </a:graphicData>
        </a:graphic>
      </p:graphicFrame>
      <p:graphicFrame>
        <p:nvGraphicFramePr>
          <p:cNvPr id="6" name="Tabelle 5"/>
          <p:cNvGraphicFramePr>
            <a:graphicFrameLocks noGrp="1"/>
          </p:cNvGraphicFramePr>
          <p:nvPr/>
        </p:nvGraphicFramePr>
        <p:xfrm>
          <a:off x="482600" y="3665347"/>
          <a:ext cx="5397500" cy="2050415"/>
        </p:xfrm>
        <a:graphic>
          <a:graphicData uri="http://schemas.openxmlformats.org/drawingml/2006/table">
            <a:tbl>
              <a:tblPr firstRow="1" bandRow="1">
                <a:tableStyleId>{C083E6E3-FA7D-4D7B-A595-EF9225AFEA82}</a:tableStyleId>
              </a:tblPr>
              <a:tblGrid>
                <a:gridCol w="5397500">
                  <a:extLst>
                    <a:ext uri="{9D8B030D-6E8A-4147-A177-3AD203B41FA5}">
                      <a16:colId xmlns:a16="http://schemas.microsoft.com/office/drawing/2014/main" val="521832481"/>
                    </a:ext>
                  </a:extLst>
                </a:gridCol>
              </a:tblGrid>
              <a:tr h="0">
                <a:tc>
                  <a:txBody>
                    <a:bodyPr/>
                    <a:lstStyle/>
                    <a:p>
                      <a:pPr marL="463550" indent="-463550" algn="l">
                        <a:lnSpc>
                          <a:spcPct val="93000"/>
                        </a:lnSpc>
                      </a:pPr>
                      <a:r>
                        <a:rPr lang="en-GB" sz="1800" b="0" dirty="0" err="1"/>
                        <a:t>pportunities</a:t>
                      </a:r>
                      <a:endParaRPr lang="en-GB" sz="1800" b="0" dirty="0">
                        <a:solidFill>
                          <a:srgbClr val="000000"/>
                        </a:solidFill>
                        <a:latin typeface="BMWGroupTN Condensed" pitchFamily="50" charset="0"/>
                        <a:sym typeface="BMW Group Condensed" panose="020B0606020202020204" pitchFamily="34" charset="0"/>
                      </a:endParaRPr>
                    </a:p>
                  </a:txBody>
                  <a:tcPr marL="504000"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0" cmpd="sng">
                      <a:solidFill>
                        <a:schemeClr val="accent3"/>
                      </a:solidFill>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1228815908"/>
                  </a:ext>
                </a:extLst>
              </a:tr>
              <a:tr h="370840">
                <a:tc>
                  <a:txBody>
                    <a:bodyPr/>
                    <a:lstStyle/>
                    <a:p>
                      <a:pPr marL="182563" indent="-182563">
                        <a:spcAft>
                          <a:spcPts val="600"/>
                        </a:spcAft>
                        <a:buClr>
                          <a:srgbClr val="7F7F7F"/>
                        </a:buClr>
                        <a:buFont typeface="Wingdings" panose="05000000000000000000" pitchFamily="2" charset="2"/>
                        <a:buChar char="§"/>
                      </a:pPr>
                      <a:r>
                        <a:rPr lang="en-GB" sz="1600" dirty="0"/>
                        <a:t>Purus </a:t>
                      </a:r>
                      <a:r>
                        <a:rPr lang="en-GB" sz="1600" dirty="0" err="1"/>
                        <a:t>lectus</a:t>
                      </a:r>
                      <a:r>
                        <a:rPr lang="en-GB" sz="1600" dirty="0"/>
                        <a:t> </a:t>
                      </a:r>
                      <a:r>
                        <a:rPr lang="en-GB" sz="1600" dirty="0" err="1"/>
                        <a:t>malesuada</a:t>
                      </a:r>
                      <a:r>
                        <a:rPr lang="en-GB" sz="1600" dirty="0"/>
                        <a:t> libero, sit </a:t>
                      </a:r>
                      <a:r>
                        <a:rPr lang="en-GB" sz="1600" dirty="0" err="1"/>
                        <a:t>amet</a:t>
                      </a:r>
                      <a:r>
                        <a:rPr lang="en-GB" sz="1600" dirty="0"/>
                        <a:t> </a:t>
                      </a:r>
                      <a:r>
                        <a:rPr lang="en-GB" sz="1600" dirty="0" err="1"/>
                        <a:t>commodo</a:t>
                      </a:r>
                      <a:r>
                        <a:rPr lang="en-GB" sz="1600" dirty="0"/>
                        <a:t> magna eros </a:t>
                      </a:r>
                      <a:r>
                        <a:rPr lang="en-GB" sz="1600" dirty="0" err="1"/>
                        <a:t>quis</a:t>
                      </a:r>
                      <a:r>
                        <a:rPr lang="en-GB" sz="1600" dirty="0"/>
                        <a:t> </a:t>
                      </a:r>
                      <a:r>
                        <a:rPr lang="en-GB" sz="1600" dirty="0" err="1"/>
                        <a:t>urna</a:t>
                      </a:r>
                      <a:r>
                        <a:rPr lang="en-GB" sz="1600" dirty="0"/>
                        <a:t>.</a:t>
                      </a:r>
                    </a:p>
                    <a:p>
                      <a:pPr marL="182563" lvl="0" indent="-182563">
                        <a:spcBef>
                          <a:spcPts val="0"/>
                        </a:spcBef>
                        <a:spcAft>
                          <a:spcPts val="600"/>
                        </a:spcAft>
                        <a:buClr>
                          <a:srgbClr val="7F7F7F"/>
                        </a:buClr>
                        <a:buFont typeface="Wingdings" panose="05000000000000000000" pitchFamily="2" charset="2"/>
                        <a:buChar char="§"/>
                      </a:pPr>
                      <a:r>
                        <a:rPr lang="en-GB" sz="1600" dirty="0"/>
                        <a:t>Nunc </a:t>
                      </a:r>
                      <a:r>
                        <a:rPr lang="en-GB" sz="1600" dirty="0" err="1"/>
                        <a:t>viverra</a:t>
                      </a:r>
                      <a:r>
                        <a:rPr lang="en-GB" sz="1600" dirty="0"/>
                        <a:t> </a:t>
                      </a:r>
                      <a:r>
                        <a:rPr lang="en-GB" sz="1600" dirty="0" err="1"/>
                        <a:t>imperdiet</a:t>
                      </a:r>
                      <a:r>
                        <a:rPr lang="en-GB" sz="1600" dirty="0"/>
                        <a:t> </a:t>
                      </a:r>
                      <a:r>
                        <a:rPr lang="en-GB" sz="1600" dirty="0" err="1"/>
                        <a:t>enim</a:t>
                      </a:r>
                      <a:r>
                        <a:rPr lang="en-GB" sz="1600" dirty="0"/>
                        <a:t>. </a:t>
                      </a:r>
                      <a:r>
                        <a:rPr lang="en-GB" sz="1600" dirty="0" err="1"/>
                        <a:t>Fusce</a:t>
                      </a:r>
                      <a:r>
                        <a:rPr lang="en-GB" sz="1600" dirty="0"/>
                        <a:t> est. </a:t>
                      </a:r>
                      <a:r>
                        <a:rPr lang="en-GB" sz="1600" dirty="0" err="1"/>
                        <a:t>Vivamus</a:t>
                      </a:r>
                      <a:r>
                        <a:rPr lang="en-GB" sz="1600" dirty="0"/>
                        <a:t> a </a:t>
                      </a:r>
                      <a:r>
                        <a:rPr lang="en-GB" sz="1600" dirty="0" err="1"/>
                        <a:t>tellus</a:t>
                      </a:r>
                      <a:r>
                        <a:rPr lang="en-GB" sz="1600" dirty="0"/>
                        <a:t>.</a:t>
                      </a:r>
                    </a:p>
                    <a:p>
                      <a:pPr marL="182563" indent="-182563">
                        <a:spcAft>
                          <a:spcPts val="600"/>
                        </a:spcAft>
                        <a:buClr>
                          <a:srgbClr val="7F7F7F"/>
                        </a:buClr>
                        <a:buFont typeface="Wingdings" panose="05000000000000000000" pitchFamily="2" charset="2"/>
                        <a:buChar char="§"/>
                      </a:pPr>
                      <a:r>
                        <a:rPr lang="en-GB" sz="1600" dirty="0" err="1"/>
                        <a:t>Pellentesque</a:t>
                      </a:r>
                      <a:r>
                        <a:rPr lang="en-GB" sz="1600" dirty="0"/>
                        <a:t> habitant </a:t>
                      </a:r>
                      <a:r>
                        <a:rPr lang="en-GB" sz="1600" dirty="0" err="1"/>
                        <a:t>morbi</a:t>
                      </a:r>
                      <a:r>
                        <a:rPr lang="en-GB" sz="1600" dirty="0"/>
                        <a:t> </a:t>
                      </a:r>
                      <a:r>
                        <a:rPr lang="en-GB" sz="1600" dirty="0" err="1"/>
                        <a:t>tristique</a:t>
                      </a:r>
                      <a:r>
                        <a:rPr lang="en-GB" sz="1600" dirty="0"/>
                        <a:t> </a:t>
                      </a:r>
                      <a:r>
                        <a:rPr lang="en-GB" sz="1600" dirty="0" err="1"/>
                        <a:t>senectus</a:t>
                      </a:r>
                      <a:r>
                        <a:rPr lang="en-GB" sz="1600" dirty="0"/>
                        <a:t> et </a:t>
                      </a:r>
                      <a:r>
                        <a:rPr lang="en-GB" sz="1600" dirty="0" err="1"/>
                        <a:t>netus</a:t>
                      </a:r>
                      <a:r>
                        <a:rPr lang="en-GB" sz="1600" dirty="0"/>
                        <a:t> et </a:t>
                      </a:r>
                      <a:r>
                        <a:rPr lang="en-GB" sz="1600" dirty="0" err="1"/>
                        <a:t>malesuada</a:t>
                      </a:r>
                      <a:r>
                        <a:rPr lang="en-GB" sz="1600" dirty="0"/>
                        <a:t> fames ac </a:t>
                      </a:r>
                      <a:r>
                        <a:rPr lang="en-GB" sz="1600" dirty="0" err="1"/>
                        <a:t>turpis</a:t>
                      </a:r>
                      <a:r>
                        <a:rPr lang="en-GB" sz="1600" dirty="0"/>
                        <a:t> </a:t>
                      </a:r>
                      <a:r>
                        <a:rPr lang="en-GB" sz="1600" dirty="0" err="1"/>
                        <a:t>egestas</a:t>
                      </a:r>
                      <a:r>
                        <a:rPr lang="en-GB" sz="1600" dirty="0"/>
                        <a:t>. Proin pharetra </a:t>
                      </a:r>
                      <a:r>
                        <a:rPr lang="en-GB" sz="1600" dirty="0" err="1"/>
                        <a:t>nonummy</a:t>
                      </a:r>
                      <a:r>
                        <a:rPr lang="en-GB" sz="1600" dirty="0"/>
                        <a:t> </a:t>
                      </a:r>
                      <a:r>
                        <a:rPr lang="en-GB" sz="1600" dirty="0" err="1"/>
                        <a:t>pede</a:t>
                      </a:r>
                      <a:r>
                        <a:rPr lang="en-GB" sz="1600" dirty="0"/>
                        <a:t>. </a:t>
                      </a:r>
                      <a:r>
                        <a:rPr lang="en-GB" sz="1600" dirty="0" err="1"/>
                        <a:t>Mauris</a:t>
                      </a:r>
                      <a:r>
                        <a:rPr lang="en-GB" sz="1600" dirty="0"/>
                        <a:t> et </a:t>
                      </a:r>
                      <a:r>
                        <a:rPr lang="en-GB" sz="1600" dirty="0" err="1"/>
                        <a:t>orci</a:t>
                      </a:r>
                      <a:r>
                        <a:rPr lang="en-GB" sz="1600" dirty="0"/>
                        <a:t>.</a:t>
                      </a:r>
                    </a:p>
                  </a:txBody>
                  <a:tcPr marL="72009" marR="72009" marT="72009"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noFill/>
                  </a:tcPr>
                </a:tc>
                <a:extLst>
                  <a:ext uri="{0D108BD9-81ED-4DB2-BD59-A6C34878D82A}">
                    <a16:rowId xmlns:a16="http://schemas.microsoft.com/office/drawing/2014/main" val="3887595378"/>
                  </a:ext>
                </a:extLst>
              </a:tr>
            </a:tbl>
          </a:graphicData>
        </a:graphic>
      </p:graphicFrame>
      <p:graphicFrame>
        <p:nvGraphicFramePr>
          <p:cNvPr id="7" name="Tabelle 6"/>
          <p:cNvGraphicFramePr>
            <a:graphicFrameLocks noGrp="1"/>
          </p:cNvGraphicFramePr>
          <p:nvPr/>
        </p:nvGraphicFramePr>
        <p:xfrm>
          <a:off x="6324600" y="3665347"/>
          <a:ext cx="5397500" cy="1974215"/>
        </p:xfrm>
        <a:graphic>
          <a:graphicData uri="http://schemas.openxmlformats.org/drawingml/2006/table">
            <a:tbl>
              <a:tblPr firstRow="1" bandRow="1">
                <a:tableStyleId>{C083E6E3-FA7D-4D7B-A595-EF9225AFEA82}</a:tableStyleId>
              </a:tblPr>
              <a:tblGrid>
                <a:gridCol w="5397500">
                  <a:extLst>
                    <a:ext uri="{9D8B030D-6E8A-4147-A177-3AD203B41FA5}">
                      <a16:colId xmlns:a16="http://schemas.microsoft.com/office/drawing/2014/main" val="521832481"/>
                    </a:ext>
                  </a:extLst>
                </a:gridCol>
              </a:tblGrid>
              <a:tr h="126365">
                <a:tc>
                  <a:txBody>
                    <a:bodyPr/>
                    <a:lstStyle/>
                    <a:p>
                      <a:pPr algn="l">
                        <a:lnSpc>
                          <a:spcPct val="93000"/>
                        </a:lnSpc>
                      </a:pPr>
                      <a:r>
                        <a:rPr lang="en-GB" sz="1800" b="0" dirty="0" err="1">
                          <a:solidFill>
                            <a:srgbClr val="000000"/>
                          </a:solidFill>
                          <a:latin typeface="BMWGroupTN Condensed" pitchFamily="50" charset="0"/>
                          <a:sym typeface="BMW Group Condensed" panose="020B0606020202020204" pitchFamily="34" charset="0"/>
                        </a:rPr>
                        <a:t>hreats</a:t>
                      </a:r>
                      <a:endParaRPr lang="en-GB" sz="1800" b="0" dirty="0">
                        <a:solidFill>
                          <a:srgbClr val="000000"/>
                        </a:solidFill>
                        <a:latin typeface="BMWGroupTN Condensed" pitchFamily="50" charset="0"/>
                        <a:sym typeface="BMW Group Condensed" panose="020B0606020202020204" pitchFamily="34" charset="0"/>
                      </a:endParaRPr>
                    </a:p>
                  </a:txBody>
                  <a:tcPr marL="396000"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0" cmpd="sng">
                      <a:solidFill>
                        <a:schemeClr val="accent3"/>
                      </a:solidFill>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1228815908"/>
                  </a:ext>
                </a:extLst>
              </a:tr>
              <a:tr h="370840">
                <a:tc>
                  <a:txBody>
                    <a:bodyPr/>
                    <a:lstStyle/>
                    <a:p>
                      <a:pPr marL="190500" indent="-190500">
                        <a:lnSpc>
                          <a:spcPct val="100000"/>
                        </a:lnSpc>
                        <a:spcAft>
                          <a:spcPts val="600"/>
                        </a:spcAft>
                        <a:buClr>
                          <a:srgbClr val="7F7F7F"/>
                        </a:buClr>
                        <a:buFont typeface="Wingdings" panose="05000000000000000000" pitchFamily="2" charset="2"/>
                        <a:buChar char="§"/>
                      </a:pPr>
                      <a:r>
                        <a:rPr lang="en-GB" sz="1600" dirty="0"/>
                        <a:t>Lorem ipsum </a:t>
                      </a:r>
                      <a:r>
                        <a:rPr lang="en-GB" sz="1600" dirty="0" err="1"/>
                        <a:t>dolor</a:t>
                      </a:r>
                      <a:r>
                        <a:rPr lang="en-GB" sz="1600" dirty="0"/>
                        <a:t> sit </a:t>
                      </a:r>
                      <a:r>
                        <a:rPr lang="en-GB" sz="1600" dirty="0" err="1"/>
                        <a:t>amet</a:t>
                      </a:r>
                      <a:r>
                        <a:rPr lang="en-GB" sz="1600" dirty="0"/>
                        <a:t>, </a:t>
                      </a:r>
                      <a:r>
                        <a:rPr lang="en-GB" sz="1600" dirty="0" err="1"/>
                        <a:t>consectetuer</a:t>
                      </a:r>
                      <a:r>
                        <a:rPr lang="en-GB" sz="1600" dirty="0"/>
                        <a:t> </a:t>
                      </a:r>
                      <a:r>
                        <a:rPr lang="en-GB" sz="1600" dirty="0" err="1"/>
                        <a:t>adipiscing</a:t>
                      </a:r>
                      <a:r>
                        <a:rPr lang="en-GB" sz="1600" dirty="0"/>
                        <a:t> </a:t>
                      </a:r>
                      <a:r>
                        <a:rPr lang="en-GB" sz="1600" dirty="0" err="1"/>
                        <a:t>elit</a:t>
                      </a:r>
                      <a:r>
                        <a:rPr lang="en-GB" sz="1600" dirty="0"/>
                        <a:t>. Maecenas </a:t>
                      </a:r>
                      <a:r>
                        <a:rPr lang="en-GB" sz="1600" dirty="0" err="1"/>
                        <a:t>porttitor</a:t>
                      </a:r>
                      <a:r>
                        <a:rPr lang="en-GB" sz="1600" dirty="0"/>
                        <a:t> </a:t>
                      </a:r>
                      <a:r>
                        <a:rPr lang="en-GB" sz="1600" dirty="0" err="1"/>
                        <a:t>congue</a:t>
                      </a:r>
                      <a:r>
                        <a:rPr lang="en-GB" sz="1600" dirty="0"/>
                        <a:t> </a:t>
                      </a:r>
                      <a:r>
                        <a:rPr lang="en-GB" sz="1600" dirty="0" err="1"/>
                        <a:t>massa</a:t>
                      </a:r>
                      <a:r>
                        <a:rPr lang="en-GB" sz="1600" dirty="0"/>
                        <a:t>. </a:t>
                      </a:r>
                      <a:r>
                        <a:rPr lang="en-GB" sz="1600" dirty="0" err="1"/>
                        <a:t>Fusce</a:t>
                      </a:r>
                      <a:r>
                        <a:rPr lang="en-GB" sz="1600" dirty="0"/>
                        <a:t> </a:t>
                      </a:r>
                      <a:r>
                        <a:rPr lang="en-GB" sz="1600" dirty="0" err="1"/>
                        <a:t>posuere</a:t>
                      </a:r>
                      <a:r>
                        <a:rPr lang="en-GB" sz="1600" dirty="0"/>
                        <a:t>, magna </a:t>
                      </a:r>
                      <a:r>
                        <a:rPr lang="en-GB" sz="1600" dirty="0" err="1"/>
                        <a:t>sed</a:t>
                      </a:r>
                      <a:r>
                        <a:rPr lang="en-GB" sz="1600" dirty="0"/>
                        <a:t> pulvinar </a:t>
                      </a:r>
                      <a:r>
                        <a:rPr lang="en-GB" sz="1600" dirty="0" err="1"/>
                        <a:t>ultricies</a:t>
                      </a:r>
                      <a:r>
                        <a:rPr lang="en-GB" sz="1600" dirty="0"/>
                        <a:t>, </a:t>
                      </a:r>
                      <a:r>
                        <a:rPr lang="en-GB" sz="1600" dirty="0" err="1"/>
                        <a:t>purus</a:t>
                      </a:r>
                      <a:r>
                        <a:rPr lang="en-GB" sz="1600" dirty="0"/>
                        <a:t> </a:t>
                      </a:r>
                      <a:r>
                        <a:rPr lang="en-GB" sz="1600" dirty="0" err="1"/>
                        <a:t>lectus</a:t>
                      </a:r>
                      <a:r>
                        <a:rPr lang="en-GB" sz="1600" dirty="0"/>
                        <a:t> </a:t>
                      </a:r>
                      <a:r>
                        <a:rPr lang="en-GB" sz="1600" dirty="0" err="1"/>
                        <a:t>malesuada</a:t>
                      </a:r>
                      <a:r>
                        <a:rPr lang="en-GB" sz="1600" dirty="0"/>
                        <a:t> libero, sit </a:t>
                      </a:r>
                      <a:r>
                        <a:rPr lang="en-GB" sz="1600" dirty="0" err="1"/>
                        <a:t>amet</a:t>
                      </a:r>
                      <a:endParaRPr lang="en-GB" sz="1600" dirty="0"/>
                    </a:p>
                    <a:p>
                      <a:pPr marL="190500" indent="-190500">
                        <a:lnSpc>
                          <a:spcPct val="100000"/>
                        </a:lnSpc>
                        <a:spcAft>
                          <a:spcPts val="600"/>
                        </a:spcAft>
                        <a:buClr>
                          <a:srgbClr val="7F7F7F"/>
                        </a:buClr>
                        <a:buFont typeface="Wingdings" panose="05000000000000000000" pitchFamily="2" charset="2"/>
                        <a:buChar char="§"/>
                      </a:pPr>
                      <a:r>
                        <a:rPr lang="en-GB" sz="1600" dirty="0" err="1"/>
                        <a:t>Pellentesque</a:t>
                      </a:r>
                      <a:r>
                        <a:rPr lang="en-GB" sz="1600" dirty="0"/>
                        <a:t> habitant </a:t>
                      </a:r>
                      <a:r>
                        <a:rPr lang="en-GB" sz="1600" dirty="0" err="1"/>
                        <a:t>morbi</a:t>
                      </a:r>
                      <a:r>
                        <a:rPr lang="en-GB" sz="1600" dirty="0"/>
                        <a:t> </a:t>
                      </a:r>
                      <a:r>
                        <a:rPr lang="en-GB" sz="1600" dirty="0" err="1"/>
                        <a:t>tristique</a:t>
                      </a:r>
                      <a:r>
                        <a:rPr lang="en-GB" sz="1600" dirty="0"/>
                        <a:t> </a:t>
                      </a:r>
                      <a:r>
                        <a:rPr lang="en-GB" sz="1600" dirty="0" err="1"/>
                        <a:t>senectus</a:t>
                      </a:r>
                      <a:r>
                        <a:rPr lang="en-GB" sz="1600" dirty="0"/>
                        <a:t> et </a:t>
                      </a:r>
                      <a:r>
                        <a:rPr lang="en-GB" sz="1600" dirty="0" err="1"/>
                        <a:t>netus</a:t>
                      </a:r>
                      <a:r>
                        <a:rPr lang="en-GB" sz="1600" dirty="0"/>
                        <a:t> et </a:t>
                      </a:r>
                      <a:r>
                        <a:rPr lang="en-GB" sz="1600" dirty="0" err="1"/>
                        <a:t>malesuada</a:t>
                      </a:r>
                      <a:r>
                        <a:rPr lang="en-GB" sz="1600" dirty="0"/>
                        <a:t> fames ac </a:t>
                      </a:r>
                      <a:r>
                        <a:rPr lang="en-GB" sz="1600" dirty="0" err="1"/>
                        <a:t>turpis</a:t>
                      </a:r>
                      <a:r>
                        <a:rPr lang="en-GB" sz="1600" dirty="0"/>
                        <a:t> </a:t>
                      </a:r>
                      <a:r>
                        <a:rPr lang="en-GB" sz="1600" dirty="0" err="1"/>
                        <a:t>egestas</a:t>
                      </a:r>
                      <a:r>
                        <a:rPr lang="en-GB" sz="1600" dirty="0"/>
                        <a:t>. Proin pharetra </a:t>
                      </a:r>
                      <a:r>
                        <a:rPr lang="en-GB" sz="1600" dirty="0" err="1"/>
                        <a:t>nonummy</a:t>
                      </a:r>
                      <a:r>
                        <a:rPr lang="en-GB" sz="1600" dirty="0"/>
                        <a:t> </a:t>
                      </a:r>
                      <a:r>
                        <a:rPr lang="en-GB" sz="1600" dirty="0" err="1"/>
                        <a:t>pede</a:t>
                      </a:r>
                      <a:r>
                        <a:rPr lang="en-GB" sz="1600" dirty="0"/>
                        <a:t>. </a:t>
                      </a:r>
                      <a:r>
                        <a:rPr lang="en-GB" sz="1600" dirty="0" err="1"/>
                        <a:t>Mauris</a:t>
                      </a:r>
                      <a:r>
                        <a:rPr lang="en-GB" sz="1600" dirty="0"/>
                        <a:t> et </a:t>
                      </a:r>
                      <a:r>
                        <a:rPr lang="en-GB" sz="1600" dirty="0" err="1"/>
                        <a:t>orci</a:t>
                      </a:r>
                      <a:r>
                        <a:rPr lang="en-GB" sz="1600" dirty="0"/>
                        <a:t>.</a:t>
                      </a:r>
                    </a:p>
                  </a:txBody>
                  <a:tcPr marL="72009" marR="72009" marT="72009"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noFill/>
                  </a:tcPr>
                </a:tc>
                <a:extLst>
                  <a:ext uri="{0D108BD9-81ED-4DB2-BD59-A6C34878D82A}">
                    <a16:rowId xmlns:a16="http://schemas.microsoft.com/office/drawing/2014/main" val="3887595378"/>
                  </a:ext>
                </a:extLst>
              </a:tr>
            </a:tbl>
          </a:graphicData>
        </a:graphic>
      </p:graphicFrame>
      <p:sp>
        <p:nvSpPr>
          <p:cNvPr id="3" name="Rechteck 2"/>
          <p:cNvSpPr/>
          <p:nvPr/>
        </p:nvSpPr>
        <p:spPr>
          <a:xfrm>
            <a:off x="502222" y="1027857"/>
            <a:ext cx="521297" cy="830997"/>
          </a:xfrm>
          <a:prstGeom prst="rect">
            <a:avLst/>
          </a:prstGeom>
        </p:spPr>
        <p:txBody>
          <a:bodyPr wrap="none">
            <a:spAutoFit/>
          </a:bodyPr>
          <a:lstStyle/>
          <a:p>
            <a:r>
              <a:rPr lang="en-GB" sz="4800" b="1" dirty="0">
                <a:solidFill>
                  <a:schemeClr val="tx2"/>
                </a:solidFill>
                <a:latin typeface="BMWGroupTN Condensed" pitchFamily="50" charset="0"/>
                <a:sym typeface="BMW Group Condensed" panose="020B0606020202020204" pitchFamily="34" charset="0"/>
              </a:rPr>
              <a:t>S</a:t>
            </a:r>
            <a:endParaRPr lang="en-GB" sz="4800" dirty="0">
              <a:solidFill>
                <a:schemeClr val="tx2"/>
              </a:solidFill>
              <a:latin typeface="BMWGroupTN Condensed" pitchFamily="50" charset="0"/>
            </a:endParaRPr>
          </a:p>
        </p:txBody>
      </p:sp>
      <p:sp>
        <p:nvSpPr>
          <p:cNvPr id="8" name="Rechteck 7"/>
          <p:cNvSpPr/>
          <p:nvPr/>
        </p:nvSpPr>
        <p:spPr>
          <a:xfrm>
            <a:off x="502222" y="3282169"/>
            <a:ext cx="591829" cy="830997"/>
          </a:xfrm>
          <a:prstGeom prst="rect">
            <a:avLst/>
          </a:prstGeom>
        </p:spPr>
        <p:txBody>
          <a:bodyPr wrap="none">
            <a:spAutoFit/>
          </a:bodyPr>
          <a:lstStyle/>
          <a:p>
            <a:r>
              <a:rPr lang="en-GB" sz="4800" b="1">
                <a:solidFill>
                  <a:schemeClr val="tx2"/>
                </a:solidFill>
                <a:latin typeface="BMWGroupTN Condensed" pitchFamily="50" charset="0"/>
                <a:sym typeface="BMW Group Condensed" panose="020B0606020202020204" pitchFamily="34" charset="0"/>
              </a:rPr>
              <a:t>O</a:t>
            </a:r>
            <a:endParaRPr lang="en-GB" sz="4800" dirty="0">
              <a:solidFill>
                <a:schemeClr val="tx2"/>
              </a:solidFill>
              <a:latin typeface="BMWGroupTN Condensed" pitchFamily="50" charset="0"/>
            </a:endParaRPr>
          </a:p>
        </p:txBody>
      </p:sp>
      <p:sp>
        <p:nvSpPr>
          <p:cNvPr id="9" name="Rechteck 8"/>
          <p:cNvSpPr/>
          <p:nvPr/>
        </p:nvSpPr>
        <p:spPr>
          <a:xfrm>
            <a:off x="6324600" y="1027857"/>
            <a:ext cx="670376" cy="830997"/>
          </a:xfrm>
          <a:prstGeom prst="rect">
            <a:avLst/>
          </a:prstGeom>
        </p:spPr>
        <p:txBody>
          <a:bodyPr wrap="none">
            <a:spAutoFit/>
          </a:bodyPr>
          <a:lstStyle/>
          <a:p>
            <a:r>
              <a:rPr lang="en-GB" sz="4800" b="1">
                <a:solidFill>
                  <a:schemeClr val="tx2"/>
                </a:solidFill>
                <a:latin typeface="BMWGroupTN Condensed" pitchFamily="50" charset="0"/>
                <a:sym typeface="BMW Group Condensed" panose="020B0606020202020204" pitchFamily="34" charset="0"/>
              </a:rPr>
              <a:t>W</a:t>
            </a:r>
            <a:endParaRPr lang="en-GB" sz="4800" dirty="0">
              <a:solidFill>
                <a:schemeClr val="tx2"/>
              </a:solidFill>
              <a:latin typeface="BMWGroupTN Condensed" pitchFamily="50" charset="0"/>
            </a:endParaRPr>
          </a:p>
        </p:txBody>
      </p:sp>
      <p:sp>
        <p:nvSpPr>
          <p:cNvPr id="10" name="Rechteck 9"/>
          <p:cNvSpPr/>
          <p:nvPr/>
        </p:nvSpPr>
        <p:spPr>
          <a:xfrm>
            <a:off x="6324600" y="3282169"/>
            <a:ext cx="524503" cy="830997"/>
          </a:xfrm>
          <a:prstGeom prst="rect">
            <a:avLst/>
          </a:prstGeom>
        </p:spPr>
        <p:txBody>
          <a:bodyPr wrap="none">
            <a:spAutoFit/>
          </a:bodyPr>
          <a:lstStyle/>
          <a:p>
            <a:r>
              <a:rPr lang="en-GB" sz="4800" b="1">
                <a:solidFill>
                  <a:schemeClr val="tx2"/>
                </a:solidFill>
                <a:latin typeface="BMWGroupTN Condensed" pitchFamily="50" charset="0"/>
                <a:sym typeface="BMW Group Condensed" panose="020B0606020202020204" pitchFamily="34" charset="0"/>
              </a:rPr>
              <a:t>T</a:t>
            </a:r>
            <a:endParaRPr lang="en-GB" sz="4800" dirty="0">
              <a:solidFill>
                <a:schemeClr val="tx2"/>
              </a:solidFill>
              <a:latin typeface="BMWGroupTN Condensed" pitchFamily="50" charset="0"/>
            </a:endParaRPr>
          </a:p>
        </p:txBody>
      </p:sp>
    </p:spTree>
    <p:custDataLst>
      <p:tags r:id="rId1"/>
    </p:custDataLst>
    <p:extLst>
      <p:ext uri="{BB962C8B-B14F-4D97-AF65-F5344CB8AC3E}">
        <p14:creationId xmlns:p14="http://schemas.microsoft.com/office/powerpoint/2010/main" val="2440623025"/>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53B683-E09F-4EB5-9DAE-55E14E8BF0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6" name="Objekt 5" hidden="1">
                        <a:extLst>
                          <a:ext uri="{FF2B5EF4-FFF2-40B4-BE49-F238E27FC236}">
                            <a16:creationId xmlns:a16="http://schemas.microsoft.com/office/drawing/2014/main" id="{4F53B683-E09F-4EB5-9DAE-55E14E8BF0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FA103A-5DAA-49FA-8E40-DF142C51A9C0}"/>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GroupTN Condensed" pitchFamily="50" charset="0"/>
              <a:ea typeface="+mj-ea"/>
              <a:cs typeface="+mj-cs"/>
              <a:sym typeface="BMW Group Condensed" panose="020B0606020202020204" pitchFamily="34" charset="0"/>
            </a:endParaRPr>
          </a:p>
        </p:txBody>
      </p:sp>
      <p:sp>
        <p:nvSpPr>
          <p:cNvPr id="2" name="Titel 1"/>
          <p:cNvSpPr>
            <a:spLocks noGrp="1"/>
          </p:cNvSpPr>
          <p:nvPr>
            <p:ph type="title"/>
          </p:nvPr>
        </p:nvSpPr>
        <p:spPr>
          <a:xfrm>
            <a:off x="488950" y="347663"/>
            <a:ext cx="11225213" cy="800219"/>
          </a:xfrm>
        </p:spPr>
        <p:txBody>
          <a:bodyPr vert="horz"/>
          <a:lstStyle/>
          <a:p>
            <a:r>
              <a:rPr lang="en-GB"/>
              <a:t>Pyramid.</a:t>
            </a:r>
            <a:br>
              <a:rPr lang="en-GB"/>
            </a:br>
            <a:r>
              <a:rPr lang="en-GB"/>
              <a:t>3 Segements.</a:t>
            </a:r>
            <a:endParaRPr lang="en-GB" dirty="0"/>
          </a:p>
        </p:txBody>
      </p:sp>
      <p:sp>
        <p:nvSpPr>
          <p:cNvPr id="5" name="Freihandform: Form 4"/>
          <p:cNvSpPr/>
          <p:nvPr/>
        </p:nvSpPr>
        <p:spPr>
          <a:xfrm>
            <a:off x="652095" y="2100175"/>
            <a:ext cx="1296454" cy="945726"/>
          </a:xfrm>
          <a:custGeom>
            <a:avLst/>
            <a:gdLst>
              <a:gd name="connsiteX0" fmla="*/ 0 w 1296454"/>
              <a:gd name="connsiteY0" fmla="*/ 945726 h 945726"/>
              <a:gd name="connsiteX1" fmla="*/ 648227 w 1296454"/>
              <a:gd name="connsiteY1" fmla="*/ 0 h 945726"/>
              <a:gd name="connsiteX2" fmla="*/ 648227 w 1296454"/>
              <a:gd name="connsiteY2" fmla="*/ 0 h 945726"/>
              <a:gd name="connsiteX3" fmla="*/ 1296454 w 1296454"/>
              <a:gd name="connsiteY3" fmla="*/ 945726 h 945726"/>
              <a:gd name="connsiteX4" fmla="*/ 0 w 1296454"/>
              <a:gd name="connsiteY4" fmla="*/ 945726 h 94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454" h="945726">
                <a:moveTo>
                  <a:pt x="0" y="945726"/>
                </a:moveTo>
                <a:lnTo>
                  <a:pt x="648227" y="0"/>
                </a:lnTo>
                <a:lnTo>
                  <a:pt x="648227" y="0"/>
                </a:lnTo>
                <a:lnTo>
                  <a:pt x="1296454" y="945726"/>
                </a:lnTo>
                <a:lnTo>
                  <a:pt x="0" y="945726"/>
                </a:lnTo>
                <a:close/>
              </a:path>
            </a:pathLst>
          </a:custGeom>
          <a:solidFill>
            <a:schemeClr val="accent2"/>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endParaRPr lang="en-GB" sz="3200" kern="1200" dirty="0">
              <a:latin typeface="Arial" panose="020B0604020202020204" pitchFamily="34" charset="0"/>
            </a:endParaRPr>
          </a:p>
        </p:txBody>
      </p:sp>
      <p:sp>
        <p:nvSpPr>
          <p:cNvPr id="25" name="Freihandform: Form 24"/>
          <p:cNvSpPr/>
          <p:nvPr/>
        </p:nvSpPr>
        <p:spPr>
          <a:xfrm>
            <a:off x="477838" y="3045901"/>
            <a:ext cx="2118939" cy="945726"/>
          </a:xfrm>
          <a:custGeom>
            <a:avLst/>
            <a:gdLst>
              <a:gd name="connsiteX0" fmla="*/ 174260 w 2118939"/>
              <a:gd name="connsiteY0" fmla="*/ 0 h 945726"/>
              <a:gd name="connsiteX1" fmla="*/ 1470710 w 2118939"/>
              <a:gd name="connsiteY1" fmla="*/ 0 h 945726"/>
              <a:gd name="connsiteX2" fmla="*/ 2118939 w 2118939"/>
              <a:gd name="connsiteY2" fmla="*/ 945726 h 945726"/>
              <a:gd name="connsiteX3" fmla="*/ 0 w 2118939"/>
              <a:gd name="connsiteY3" fmla="*/ 945726 h 945726"/>
              <a:gd name="connsiteX4" fmla="*/ 0 w 2118939"/>
              <a:gd name="connsiteY4" fmla="*/ 254235 h 94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8939" h="945726">
                <a:moveTo>
                  <a:pt x="174260" y="0"/>
                </a:moveTo>
                <a:lnTo>
                  <a:pt x="1470710" y="0"/>
                </a:lnTo>
                <a:lnTo>
                  <a:pt x="2118939" y="945726"/>
                </a:lnTo>
                <a:lnTo>
                  <a:pt x="0" y="945726"/>
                </a:lnTo>
                <a:lnTo>
                  <a:pt x="0" y="254235"/>
                </a:lnTo>
                <a:close/>
              </a:path>
            </a:pathLst>
          </a:custGeom>
          <a:solidFill>
            <a:schemeClr val="accent1"/>
          </a:solidFill>
        </p:spPr>
        <p:style>
          <a:lnRef idx="2">
            <a:schemeClr val="lt1">
              <a:hueOff val="0"/>
              <a:satOff val="0"/>
              <a:lumOff val="0"/>
              <a:alphaOff val="0"/>
            </a:schemeClr>
          </a:lnRef>
          <a:fillRef idx="1">
            <a:schemeClr val="accent2">
              <a:hueOff val="7650"/>
              <a:satOff val="155"/>
              <a:lumOff val="2157"/>
              <a:alphaOff val="0"/>
            </a:schemeClr>
          </a:fillRef>
          <a:effectRef idx="0">
            <a:schemeClr val="accent2">
              <a:hueOff val="7650"/>
              <a:satOff val="155"/>
              <a:lumOff val="2157"/>
              <a:alphaOff val="0"/>
            </a:schemeClr>
          </a:effectRef>
          <a:fontRef idx="minor">
            <a:schemeClr val="lt1"/>
          </a:fontRef>
        </p:style>
        <p:txBody>
          <a:bodyPr spcFirstLastPara="0" vert="horz" wrap="square" lIns="494399" tIns="40640" rIns="494399" bIns="40640" numCol="1" spcCol="1270" anchor="ctr" anchorCtr="0">
            <a:noAutofit/>
          </a:bodyPr>
          <a:lstStyle/>
          <a:p>
            <a:pPr marL="0" lvl="0" indent="0" algn="ctr" defTabSz="1422400">
              <a:lnSpc>
                <a:spcPct val="90000"/>
              </a:lnSpc>
              <a:spcBef>
                <a:spcPct val="0"/>
              </a:spcBef>
              <a:spcAft>
                <a:spcPct val="35000"/>
              </a:spcAft>
              <a:buNone/>
            </a:pPr>
            <a:endParaRPr lang="en-GB" sz="3200" kern="1200" dirty="0">
              <a:latin typeface="Arial" panose="020B0604020202020204" pitchFamily="34" charset="0"/>
            </a:endParaRPr>
          </a:p>
        </p:txBody>
      </p:sp>
      <p:sp>
        <p:nvSpPr>
          <p:cNvPr id="32" name="Freihandform: Form 31"/>
          <p:cNvSpPr/>
          <p:nvPr/>
        </p:nvSpPr>
        <p:spPr>
          <a:xfrm>
            <a:off x="477838" y="3991628"/>
            <a:ext cx="2767167" cy="945726"/>
          </a:xfrm>
          <a:custGeom>
            <a:avLst/>
            <a:gdLst>
              <a:gd name="connsiteX0" fmla="*/ 0 w 2767167"/>
              <a:gd name="connsiteY0" fmla="*/ 0 h 945726"/>
              <a:gd name="connsiteX1" fmla="*/ 2118938 w 2767167"/>
              <a:gd name="connsiteY1" fmla="*/ 0 h 945726"/>
              <a:gd name="connsiteX2" fmla="*/ 2767167 w 2767167"/>
              <a:gd name="connsiteY2" fmla="*/ 945726 h 945726"/>
              <a:gd name="connsiteX3" fmla="*/ 0 w 2767167"/>
              <a:gd name="connsiteY3" fmla="*/ 945726 h 945726"/>
            </a:gdLst>
            <a:ahLst/>
            <a:cxnLst>
              <a:cxn ang="0">
                <a:pos x="connsiteX0" y="connsiteY0"/>
              </a:cxn>
              <a:cxn ang="0">
                <a:pos x="connsiteX1" y="connsiteY1"/>
              </a:cxn>
              <a:cxn ang="0">
                <a:pos x="connsiteX2" y="connsiteY2"/>
              </a:cxn>
              <a:cxn ang="0">
                <a:pos x="connsiteX3" y="connsiteY3"/>
              </a:cxn>
            </a:cxnLst>
            <a:rect l="l" t="t" r="r" b="b"/>
            <a:pathLst>
              <a:path w="2767167" h="945726">
                <a:moveTo>
                  <a:pt x="0" y="0"/>
                </a:moveTo>
                <a:lnTo>
                  <a:pt x="2118938" y="0"/>
                </a:lnTo>
                <a:lnTo>
                  <a:pt x="2767167" y="945726"/>
                </a:lnTo>
                <a:lnTo>
                  <a:pt x="0" y="945726"/>
                </a:lnTo>
                <a:close/>
              </a:path>
            </a:pathLst>
          </a:custGeom>
          <a:solidFill>
            <a:schemeClr val="tx2"/>
          </a:solidFill>
        </p:spPr>
        <p:style>
          <a:lnRef idx="2">
            <a:schemeClr val="lt1">
              <a:hueOff val="0"/>
              <a:satOff val="0"/>
              <a:lumOff val="0"/>
              <a:alphaOff val="0"/>
            </a:schemeClr>
          </a:lnRef>
          <a:fillRef idx="1">
            <a:schemeClr val="accent2">
              <a:hueOff val="15299"/>
              <a:satOff val="310"/>
              <a:lumOff val="4314"/>
              <a:alphaOff val="0"/>
            </a:schemeClr>
          </a:fillRef>
          <a:effectRef idx="0">
            <a:schemeClr val="accent2">
              <a:hueOff val="15299"/>
              <a:satOff val="310"/>
              <a:lumOff val="4314"/>
              <a:alphaOff val="0"/>
            </a:schemeClr>
          </a:effectRef>
          <a:fontRef idx="minor">
            <a:schemeClr val="lt1"/>
          </a:fontRef>
        </p:style>
        <p:txBody>
          <a:bodyPr spcFirstLastPara="0" vert="horz" wrap="square" lIns="721278" tIns="40640" rIns="721279" bIns="40640" numCol="1" spcCol="1270" anchor="ctr" anchorCtr="0">
            <a:noAutofit/>
          </a:bodyPr>
          <a:lstStyle/>
          <a:p>
            <a:pPr marL="0" lvl="0" indent="0" algn="ctr" defTabSz="1422400">
              <a:lnSpc>
                <a:spcPct val="90000"/>
              </a:lnSpc>
              <a:spcBef>
                <a:spcPct val="0"/>
              </a:spcBef>
              <a:spcAft>
                <a:spcPct val="35000"/>
              </a:spcAft>
              <a:buNone/>
            </a:pPr>
            <a:endParaRPr lang="en-GB" sz="3200" kern="1200" dirty="0">
              <a:latin typeface="Arial" panose="020B0604020202020204" pitchFamily="34" charset="0"/>
            </a:endParaRPr>
          </a:p>
        </p:txBody>
      </p:sp>
      <p:cxnSp>
        <p:nvCxnSpPr>
          <p:cNvPr id="18" name="Gerader Verbinder 17"/>
          <p:cNvCxnSpPr/>
          <p:nvPr/>
        </p:nvCxnSpPr>
        <p:spPr>
          <a:xfrm>
            <a:off x="1948547" y="3045901"/>
            <a:ext cx="3875204"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V="1">
            <a:off x="2596775" y="3991627"/>
            <a:ext cx="3226976" cy="1"/>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flipV="1">
            <a:off x="3245002" y="4928474"/>
            <a:ext cx="2578749" cy="2"/>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2189006" y="2100175"/>
            <a:ext cx="3634745" cy="945726"/>
          </a:xfrm>
          <a:prstGeom prst="rect">
            <a:avLst/>
          </a:prstGeom>
        </p:spPr>
        <p:txBody>
          <a:bodyPr vert="horz" wrap="square" lIns="0" tIns="0" rIns="0" bIns="0" rtlCol="0" anchor="ctr" anchorCtr="0">
            <a:noAutofit/>
          </a:bodyPr>
          <a:lstStyle/>
          <a:p>
            <a:pPr marL="0" indent="0">
              <a:lnSpc>
                <a:spcPct val="93000"/>
              </a:lnSpc>
              <a:spcAft>
                <a:spcPts val="600"/>
              </a:spcAft>
              <a:buNone/>
            </a:pPr>
            <a:r>
              <a:rPr lang="en-GB" sz="1600" dirty="0"/>
              <a:t>Subtitle</a:t>
            </a:r>
          </a:p>
          <a:p>
            <a:pPr marL="0" indent="0">
              <a:lnSpc>
                <a:spcPct val="93000"/>
              </a:lnSpc>
              <a:buNone/>
            </a:pPr>
            <a:r>
              <a:rPr lang="en-GB" sz="1400" dirty="0"/>
              <a:t>Lorem ipsum </a:t>
            </a:r>
            <a:r>
              <a:rPr lang="en-GB" sz="1400" dirty="0" err="1"/>
              <a:t>dolor</a:t>
            </a:r>
            <a:r>
              <a:rPr lang="en-GB" sz="1400" dirty="0"/>
              <a:t> sit </a:t>
            </a:r>
            <a:r>
              <a:rPr lang="en-GB" sz="1400" dirty="0" err="1"/>
              <a:t>amet</a:t>
            </a:r>
            <a:r>
              <a:rPr lang="en-GB" sz="1400" dirty="0"/>
              <a:t>, </a:t>
            </a:r>
            <a:r>
              <a:rPr lang="en-GB" sz="1400" dirty="0" err="1"/>
              <a:t>consectetuer</a:t>
            </a:r>
            <a:r>
              <a:rPr lang="en-GB" sz="1400" dirty="0"/>
              <a:t> </a:t>
            </a:r>
            <a:r>
              <a:rPr lang="en-GB" sz="1400" dirty="0" err="1"/>
              <a:t>adipiscing</a:t>
            </a:r>
            <a:r>
              <a:rPr lang="en-GB" sz="1400" dirty="0"/>
              <a:t> </a:t>
            </a:r>
            <a:r>
              <a:rPr lang="en-GB" sz="1400" dirty="0" err="1"/>
              <a:t>elit</a:t>
            </a:r>
            <a:r>
              <a:rPr lang="en-GB" sz="1400" dirty="0"/>
              <a:t>. Maecenas </a:t>
            </a:r>
            <a:r>
              <a:rPr lang="en-GB" sz="1400" dirty="0" err="1"/>
              <a:t>porttito</a:t>
            </a:r>
            <a:r>
              <a:rPr lang="en-GB" sz="1400" dirty="0"/>
              <a:t>.</a:t>
            </a:r>
          </a:p>
        </p:txBody>
      </p:sp>
      <p:sp>
        <p:nvSpPr>
          <p:cNvPr id="28" name="Textfeld 27"/>
          <p:cNvSpPr txBox="1"/>
          <p:nvPr/>
        </p:nvSpPr>
        <p:spPr>
          <a:xfrm>
            <a:off x="3485461" y="3991628"/>
            <a:ext cx="2338290" cy="945726"/>
          </a:xfrm>
          <a:prstGeom prst="rect">
            <a:avLst/>
          </a:prstGeom>
        </p:spPr>
        <p:txBody>
          <a:bodyPr vert="horz" wrap="square" lIns="0" tIns="0" rIns="0" bIns="0" rtlCol="0" anchor="ctr" anchorCtr="0">
            <a:noAutofit/>
          </a:bodyPr>
          <a:lstStyle/>
          <a:p>
            <a:pPr marL="0" indent="0">
              <a:lnSpc>
                <a:spcPct val="93000"/>
              </a:lnSpc>
              <a:spcAft>
                <a:spcPts val="600"/>
              </a:spcAft>
              <a:buNone/>
            </a:pPr>
            <a:r>
              <a:rPr lang="en-GB" sz="1600" dirty="0"/>
              <a:t>Subtitle</a:t>
            </a:r>
          </a:p>
          <a:p>
            <a:pPr marL="0" indent="0">
              <a:lnSpc>
                <a:spcPct val="93000"/>
              </a:lnSpc>
              <a:buNone/>
            </a:pPr>
            <a:r>
              <a:rPr lang="en-GB" sz="1400" dirty="0" err="1"/>
              <a:t>Fusce</a:t>
            </a:r>
            <a:r>
              <a:rPr lang="en-GB" sz="1400" dirty="0"/>
              <a:t> </a:t>
            </a:r>
            <a:r>
              <a:rPr lang="en-GB" sz="1400" dirty="0" err="1"/>
              <a:t>posuere</a:t>
            </a:r>
            <a:r>
              <a:rPr lang="en-GB" sz="1400" dirty="0"/>
              <a:t>, magna </a:t>
            </a:r>
            <a:r>
              <a:rPr lang="en-GB" sz="1400" dirty="0" err="1"/>
              <a:t>sed</a:t>
            </a:r>
            <a:r>
              <a:rPr lang="en-GB" sz="1400" dirty="0"/>
              <a:t> pulvinar </a:t>
            </a:r>
            <a:r>
              <a:rPr lang="en-GB" sz="1400" dirty="0" err="1"/>
              <a:t>ultricies</a:t>
            </a:r>
            <a:r>
              <a:rPr lang="en-GB" sz="1400" dirty="0"/>
              <a:t>.</a:t>
            </a:r>
          </a:p>
        </p:txBody>
      </p:sp>
      <p:sp>
        <p:nvSpPr>
          <p:cNvPr id="30" name="Textfeld 29"/>
          <p:cNvSpPr txBox="1"/>
          <p:nvPr/>
        </p:nvSpPr>
        <p:spPr>
          <a:xfrm>
            <a:off x="2837233" y="3045902"/>
            <a:ext cx="2986518" cy="945726"/>
          </a:xfrm>
          <a:prstGeom prst="rect">
            <a:avLst/>
          </a:prstGeom>
        </p:spPr>
        <p:txBody>
          <a:bodyPr vert="horz" wrap="square" lIns="0" tIns="0" rIns="0" bIns="0" rtlCol="0" anchor="ctr" anchorCtr="0">
            <a:noAutofit/>
          </a:bodyPr>
          <a:lstStyle/>
          <a:p>
            <a:pPr marL="0" indent="0">
              <a:lnSpc>
                <a:spcPct val="93000"/>
              </a:lnSpc>
              <a:spcAft>
                <a:spcPts val="600"/>
              </a:spcAft>
              <a:buNone/>
            </a:pPr>
            <a:r>
              <a:rPr lang="en-GB" sz="1600" dirty="0"/>
              <a:t>Subtitle</a:t>
            </a:r>
          </a:p>
          <a:p>
            <a:pPr marL="0" indent="0">
              <a:lnSpc>
                <a:spcPct val="93000"/>
              </a:lnSpc>
              <a:buNone/>
            </a:pPr>
            <a:r>
              <a:rPr lang="en-GB" sz="1400" dirty="0" err="1"/>
              <a:t>Vivamus</a:t>
            </a:r>
            <a:r>
              <a:rPr lang="en-GB" sz="1400" dirty="0"/>
              <a:t> a </a:t>
            </a:r>
            <a:r>
              <a:rPr lang="en-GB" sz="1400" dirty="0" err="1"/>
              <a:t>tellus</a:t>
            </a:r>
            <a:r>
              <a:rPr lang="en-GB" sz="1400" dirty="0"/>
              <a:t>. </a:t>
            </a:r>
            <a:r>
              <a:rPr lang="en-GB" sz="1400" dirty="0" err="1"/>
              <a:t>Pellentesque</a:t>
            </a:r>
            <a:r>
              <a:rPr lang="en-GB" sz="1400" dirty="0"/>
              <a:t> habitant </a:t>
            </a:r>
            <a:r>
              <a:rPr lang="en-GB" sz="1400" dirty="0" err="1"/>
              <a:t>morbi</a:t>
            </a:r>
            <a:r>
              <a:rPr lang="en-GB" sz="1400" dirty="0"/>
              <a:t> </a:t>
            </a:r>
            <a:r>
              <a:rPr lang="en-GB" sz="1400" dirty="0" err="1"/>
              <a:t>tristique</a:t>
            </a:r>
            <a:r>
              <a:rPr lang="en-GB" sz="1400" dirty="0"/>
              <a:t> </a:t>
            </a:r>
            <a:r>
              <a:rPr lang="en-GB" sz="1400" dirty="0" err="1"/>
              <a:t>senectus</a:t>
            </a:r>
            <a:r>
              <a:rPr lang="en-GB" sz="1400" dirty="0"/>
              <a:t>.</a:t>
            </a:r>
          </a:p>
        </p:txBody>
      </p:sp>
      <p:sp>
        <p:nvSpPr>
          <p:cNvPr id="4" name="AllOverBar"/>
          <p:cNvSpPr/>
          <p:nvPr/>
        </p:nvSpPr>
        <p:spPr>
          <a:xfrm>
            <a:off x="0" y="5598254"/>
            <a:ext cx="12192000" cy="6994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69900" tIns="72009" rIns="469900" bIns="72009" rtlCol="0" anchor="b" anchorCtr="0">
            <a:spAutoFit/>
          </a:bodyPr>
          <a:lstStyle/>
          <a:p>
            <a:pPr eaLnBrk="1" fontAlgn="auto" hangingPunct="1"/>
            <a:r>
              <a:rPr lang="en-GB">
                <a:solidFill>
                  <a:schemeClr val="bg1"/>
                </a:solidFill>
              </a:rPr>
              <a:t>Lorem ipsum dolor sit amet, consectetuer adipiscing elit. Maecenas porttitor congue massa. Fusce posuere, magna sed pulvinar ultricies, purus lectus malesuada libero, sit amet commodo magna eros quis urna.</a:t>
            </a:r>
            <a:endParaRPr lang="en-GB" dirty="0">
              <a:solidFill>
                <a:schemeClr val="bg1"/>
              </a:solidFill>
            </a:endParaRPr>
          </a:p>
        </p:txBody>
      </p:sp>
      <p:graphicFrame>
        <p:nvGraphicFramePr>
          <p:cNvPr id="33" name="Tabelle 32"/>
          <p:cNvGraphicFramePr>
            <a:graphicFrameLocks noGrp="1"/>
          </p:cNvGraphicFramePr>
          <p:nvPr/>
        </p:nvGraphicFramePr>
        <p:xfrm>
          <a:off x="6322100" y="1416050"/>
          <a:ext cx="5400000" cy="1498015"/>
        </p:xfrm>
        <a:graphic>
          <a:graphicData uri="http://schemas.openxmlformats.org/drawingml/2006/table">
            <a:tbl>
              <a:tblPr firstRow="1" bandRow="1">
                <a:tableStyleId>{C083E6E3-FA7D-4D7B-A595-EF9225AFEA82}</a:tableStyleId>
              </a:tblPr>
              <a:tblGrid>
                <a:gridCol w="5400000">
                  <a:extLst>
                    <a:ext uri="{9D8B030D-6E8A-4147-A177-3AD203B41FA5}">
                      <a16:colId xmlns:a16="http://schemas.microsoft.com/office/drawing/2014/main" val="743653698"/>
                    </a:ext>
                  </a:extLst>
                </a:gridCol>
              </a:tblGrid>
              <a:tr h="370840">
                <a:tc>
                  <a:txBody>
                    <a:bodyPr/>
                    <a:lstStyle/>
                    <a:p>
                      <a:pPr algn="l"/>
                      <a:r>
                        <a:rPr lang="en-GB" sz="1800" b="0" dirty="0">
                          <a:solidFill>
                            <a:srgbClr val="000000"/>
                          </a:solidFill>
                          <a:latin typeface="BMWGroupTN Condensed" pitchFamily="50" charset="0"/>
                          <a:sym typeface="BMW Group Condensed" panose="020B0606020202020204" pitchFamily="34" charset="0"/>
                        </a:rPr>
                        <a:t>Placeholder</a:t>
                      </a: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accent5"/>
                    </a:solidFill>
                  </a:tcPr>
                </a:tc>
                <a:extLst>
                  <a:ext uri="{0D108BD9-81ED-4DB2-BD59-A6C34878D82A}">
                    <a16:rowId xmlns:a16="http://schemas.microsoft.com/office/drawing/2014/main" val="2576368964"/>
                  </a:ext>
                </a:extLst>
              </a:tr>
              <a:tr h="370840">
                <a:tc>
                  <a:txBody>
                    <a:bodyPr/>
                    <a:lstStyle/>
                    <a:p>
                      <a:pPr marL="174625" indent="-174625" algn="l">
                        <a:lnSpc>
                          <a:spcPct val="93000"/>
                        </a:lnSpc>
                        <a:spcBef>
                          <a:spcPts val="0"/>
                        </a:spcBef>
                        <a:spcAft>
                          <a:spcPts val="600"/>
                        </a:spcAft>
                        <a:buClr>
                          <a:srgbClr val="7F7F7F"/>
                        </a:buClr>
                        <a:buFont typeface="Wingdings" panose="05000000000000000000" pitchFamily="2" charset="2"/>
                        <a:buChar char="§"/>
                      </a:pPr>
                      <a:r>
                        <a:rPr lang="en-GB" sz="1600" b="0" dirty="0">
                          <a:solidFill>
                            <a:srgbClr val="000000"/>
                          </a:solidFill>
                          <a:latin typeface="BMWGroupTN Condensed" pitchFamily="50" charset="0"/>
                          <a:sym typeface="BMW Group Condensed" panose="020B0606020202020204" pitchFamily="34" charset="0"/>
                        </a:rPr>
                        <a:t>The text demonstrates how your own text will look when you replace the placeholder text.</a:t>
                      </a:r>
                    </a:p>
                    <a:p>
                      <a:pPr marL="174625" indent="-174625" algn="l">
                        <a:lnSpc>
                          <a:spcPct val="93000"/>
                        </a:lnSpc>
                        <a:spcBef>
                          <a:spcPts val="0"/>
                        </a:spcBef>
                        <a:spcAft>
                          <a:spcPts val="600"/>
                        </a:spcAft>
                        <a:buClr>
                          <a:srgbClr val="7F7F7F"/>
                        </a:buClr>
                        <a:buFont typeface="Wingdings" panose="05000000000000000000" pitchFamily="2" charset="2"/>
                        <a:buChar char="§"/>
                      </a:pPr>
                      <a:r>
                        <a:rPr lang="en-GB" sz="1600" b="0" dirty="0">
                          <a:solidFill>
                            <a:srgbClr val="000000"/>
                          </a:solidFill>
                          <a:latin typeface="BMWGroupTN Condensed" pitchFamily="50" charset="0"/>
                          <a:sym typeface="BMW Group Condensed" panose="020B0606020202020204" pitchFamily="34" charset="0"/>
                        </a:rPr>
                        <a:t>The text that you insert will retain the same style and format as the placeholder text.</a:t>
                      </a:r>
                    </a:p>
                  </a:txBody>
                  <a:tcPr marL="72009" marR="72009" marT="108000"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462140247"/>
                  </a:ext>
                </a:extLst>
              </a:tr>
            </a:tbl>
          </a:graphicData>
        </a:graphic>
      </p:graphicFrame>
    </p:spTree>
    <p:custDataLst>
      <p:tags r:id="rId1"/>
    </p:custDataLst>
    <p:extLst>
      <p:ext uri="{BB962C8B-B14F-4D97-AF65-F5344CB8AC3E}">
        <p14:creationId xmlns:p14="http://schemas.microsoft.com/office/powerpoint/2010/main" val="3158522667"/>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53B683-E09F-4EB5-9DAE-55E14E8BF0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6" name="Objekt 5" hidden="1">
                        <a:extLst>
                          <a:ext uri="{FF2B5EF4-FFF2-40B4-BE49-F238E27FC236}">
                            <a16:creationId xmlns:a16="http://schemas.microsoft.com/office/drawing/2014/main" id="{4F53B683-E09F-4EB5-9DAE-55E14E8BF0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FA103A-5DAA-49FA-8E40-DF142C51A9C0}"/>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GroupTN Condensed" pitchFamily="50" charset="0"/>
              <a:ea typeface="+mj-ea"/>
              <a:cs typeface="+mj-cs"/>
              <a:sym typeface="BMW Group Condensed" panose="020B0606020202020204" pitchFamily="34" charset="0"/>
            </a:endParaRPr>
          </a:p>
        </p:txBody>
      </p:sp>
      <p:sp>
        <p:nvSpPr>
          <p:cNvPr id="2" name="Titel 1"/>
          <p:cNvSpPr>
            <a:spLocks noGrp="1"/>
          </p:cNvSpPr>
          <p:nvPr>
            <p:ph type="title"/>
          </p:nvPr>
        </p:nvSpPr>
        <p:spPr>
          <a:xfrm>
            <a:off x="488950" y="347663"/>
            <a:ext cx="11225213" cy="800219"/>
          </a:xfrm>
        </p:spPr>
        <p:txBody>
          <a:bodyPr vert="horz"/>
          <a:lstStyle/>
          <a:p>
            <a:r>
              <a:rPr lang="en-GB"/>
              <a:t>Pyramid.</a:t>
            </a:r>
            <a:br>
              <a:rPr lang="en-GB"/>
            </a:br>
            <a:r>
              <a:rPr lang="en-GB"/>
              <a:t>3 Segements.</a:t>
            </a:r>
            <a:endParaRPr lang="en-GB" dirty="0"/>
          </a:p>
        </p:txBody>
      </p:sp>
      <p:sp>
        <p:nvSpPr>
          <p:cNvPr id="5" name="Freihandform: Form 4"/>
          <p:cNvSpPr/>
          <p:nvPr/>
        </p:nvSpPr>
        <p:spPr>
          <a:xfrm>
            <a:off x="652095" y="2100175"/>
            <a:ext cx="1296454" cy="945726"/>
          </a:xfrm>
          <a:custGeom>
            <a:avLst/>
            <a:gdLst>
              <a:gd name="connsiteX0" fmla="*/ 0 w 1296454"/>
              <a:gd name="connsiteY0" fmla="*/ 945726 h 945726"/>
              <a:gd name="connsiteX1" fmla="*/ 648227 w 1296454"/>
              <a:gd name="connsiteY1" fmla="*/ 0 h 945726"/>
              <a:gd name="connsiteX2" fmla="*/ 648227 w 1296454"/>
              <a:gd name="connsiteY2" fmla="*/ 0 h 945726"/>
              <a:gd name="connsiteX3" fmla="*/ 1296454 w 1296454"/>
              <a:gd name="connsiteY3" fmla="*/ 945726 h 945726"/>
              <a:gd name="connsiteX4" fmla="*/ 0 w 1296454"/>
              <a:gd name="connsiteY4" fmla="*/ 945726 h 94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454" h="945726">
                <a:moveTo>
                  <a:pt x="0" y="945726"/>
                </a:moveTo>
                <a:lnTo>
                  <a:pt x="648227" y="0"/>
                </a:lnTo>
                <a:lnTo>
                  <a:pt x="648227" y="0"/>
                </a:lnTo>
                <a:lnTo>
                  <a:pt x="1296454" y="945726"/>
                </a:lnTo>
                <a:lnTo>
                  <a:pt x="0" y="945726"/>
                </a:lnTo>
                <a:close/>
              </a:path>
            </a:pathLst>
          </a:custGeom>
          <a:solidFill>
            <a:schemeClr val="accent2"/>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endParaRPr lang="en-GB" sz="3200" kern="1200" dirty="0">
              <a:latin typeface="Arial" panose="020B0604020202020204" pitchFamily="34" charset="0"/>
            </a:endParaRPr>
          </a:p>
        </p:txBody>
      </p:sp>
      <p:sp>
        <p:nvSpPr>
          <p:cNvPr id="25" name="Freihandform: Form 24"/>
          <p:cNvSpPr/>
          <p:nvPr/>
        </p:nvSpPr>
        <p:spPr>
          <a:xfrm>
            <a:off x="477838" y="3045901"/>
            <a:ext cx="2118939" cy="945726"/>
          </a:xfrm>
          <a:custGeom>
            <a:avLst/>
            <a:gdLst>
              <a:gd name="connsiteX0" fmla="*/ 174260 w 2118939"/>
              <a:gd name="connsiteY0" fmla="*/ 0 h 945726"/>
              <a:gd name="connsiteX1" fmla="*/ 1470710 w 2118939"/>
              <a:gd name="connsiteY1" fmla="*/ 0 h 945726"/>
              <a:gd name="connsiteX2" fmla="*/ 2118939 w 2118939"/>
              <a:gd name="connsiteY2" fmla="*/ 945726 h 945726"/>
              <a:gd name="connsiteX3" fmla="*/ 0 w 2118939"/>
              <a:gd name="connsiteY3" fmla="*/ 945726 h 945726"/>
              <a:gd name="connsiteX4" fmla="*/ 0 w 2118939"/>
              <a:gd name="connsiteY4" fmla="*/ 254235 h 94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8939" h="945726">
                <a:moveTo>
                  <a:pt x="174260" y="0"/>
                </a:moveTo>
                <a:lnTo>
                  <a:pt x="1470710" y="0"/>
                </a:lnTo>
                <a:lnTo>
                  <a:pt x="2118939" y="945726"/>
                </a:lnTo>
                <a:lnTo>
                  <a:pt x="0" y="945726"/>
                </a:lnTo>
                <a:lnTo>
                  <a:pt x="0" y="254235"/>
                </a:lnTo>
                <a:close/>
              </a:path>
            </a:pathLst>
          </a:custGeom>
          <a:solidFill>
            <a:schemeClr val="accent1"/>
          </a:solidFill>
        </p:spPr>
        <p:style>
          <a:lnRef idx="2">
            <a:schemeClr val="lt1">
              <a:hueOff val="0"/>
              <a:satOff val="0"/>
              <a:lumOff val="0"/>
              <a:alphaOff val="0"/>
            </a:schemeClr>
          </a:lnRef>
          <a:fillRef idx="1">
            <a:schemeClr val="accent2">
              <a:hueOff val="7650"/>
              <a:satOff val="155"/>
              <a:lumOff val="2157"/>
              <a:alphaOff val="0"/>
            </a:schemeClr>
          </a:fillRef>
          <a:effectRef idx="0">
            <a:schemeClr val="accent2">
              <a:hueOff val="7650"/>
              <a:satOff val="155"/>
              <a:lumOff val="2157"/>
              <a:alphaOff val="0"/>
            </a:schemeClr>
          </a:effectRef>
          <a:fontRef idx="minor">
            <a:schemeClr val="lt1"/>
          </a:fontRef>
        </p:style>
        <p:txBody>
          <a:bodyPr spcFirstLastPara="0" vert="horz" wrap="square" lIns="494399" tIns="40640" rIns="494399" bIns="40640" numCol="1" spcCol="1270" anchor="ctr" anchorCtr="0">
            <a:noAutofit/>
          </a:bodyPr>
          <a:lstStyle/>
          <a:p>
            <a:pPr marL="0" lvl="0" indent="0" algn="ctr" defTabSz="1422400">
              <a:lnSpc>
                <a:spcPct val="90000"/>
              </a:lnSpc>
              <a:spcBef>
                <a:spcPct val="0"/>
              </a:spcBef>
              <a:spcAft>
                <a:spcPct val="35000"/>
              </a:spcAft>
              <a:buNone/>
            </a:pPr>
            <a:endParaRPr lang="en-GB" sz="3200" kern="1200" dirty="0">
              <a:latin typeface="Arial" panose="020B0604020202020204" pitchFamily="34" charset="0"/>
            </a:endParaRPr>
          </a:p>
        </p:txBody>
      </p:sp>
      <p:sp>
        <p:nvSpPr>
          <p:cNvPr id="32" name="Freihandform: Form 31"/>
          <p:cNvSpPr/>
          <p:nvPr/>
        </p:nvSpPr>
        <p:spPr>
          <a:xfrm>
            <a:off x="477838" y="3991628"/>
            <a:ext cx="2767167" cy="945726"/>
          </a:xfrm>
          <a:custGeom>
            <a:avLst/>
            <a:gdLst>
              <a:gd name="connsiteX0" fmla="*/ 0 w 2767167"/>
              <a:gd name="connsiteY0" fmla="*/ 0 h 945726"/>
              <a:gd name="connsiteX1" fmla="*/ 2118938 w 2767167"/>
              <a:gd name="connsiteY1" fmla="*/ 0 h 945726"/>
              <a:gd name="connsiteX2" fmla="*/ 2767167 w 2767167"/>
              <a:gd name="connsiteY2" fmla="*/ 945726 h 945726"/>
              <a:gd name="connsiteX3" fmla="*/ 0 w 2767167"/>
              <a:gd name="connsiteY3" fmla="*/ 945726 h 945726"/>
            </a:gdLst>
            <a:ahLst/>
            <a:cxnLst>
              <a:cxn ang="0">
                <a:pos x="connsiteX0" y="connsiteY0"/>
              </a:cxn>
              <a:cxn ang="0">
                <a:pos x="connsiteX1" y="connsiteY1"/>
              </a:cxn>
              <a:cxn ang="0">
                <a:pos x="connsiteX2" y="connsiteY2"/>
              </a:cxn>
              <a:cxn ang="0">
                <a:pos x="connsiteX3" y="connsiteY3"/>
              </a:cxn>
            </a:cxnLst>
            <a:rect l="l" t="t" r="r" b="b"/>
            <a:pathLst>
              <a:path w="2767167" h="945726">
                <a:moveTo>
                  <a:pt x="0" y="0"/>
                </a:moveTo>
                <a:lnTo>
                  <a:pt x="2118938" y="0"/>
                </a:lnTo>
                <a:lnTo>
                  <a:pt x="2767167" y="945726"/>
                </a:lnTo>
                <a:lnTo>
                  <a:pt x="0" y="945726"/>
                </a:lnTo>
                <a:close/>
              </a:path>
            </a:pathLst>
          </a:custGeom>
          <a:solidFill>
            <a:schemeClr val="tx2"/>
          </a:solidFill>
        </p:spPr>
        <p:style>
          <a:lnRef idx="2">
            <a:schemeClr val="lt1">
              <a:hueOff val="0"/>
              <a:satOff val="0"/>
              <a:lumOff val="0"/>
              <a:alphaOff val="0"/>
            </a:schemeClr>
          </a:lnRef>
          <a:fillRef idx="1">
            <a:schemeClr val="accent2">
              <a:hueOff val="15299"/>
              <a:satOff val="310"/>
              <a:lumOff val="4314"/>
              <a:alphaOff val="0"/>
            </a:schemeClr>
          </a:fillRef>
          <a:effectRef idx="0">
            <a:schemeClr val="accent2">
              <a:hueOff val="15299"/>
              <a:satOff val="310"/>
              <a:lumOff val="4314"/>
              <a:alphaOff val="0"/>
            </a:schemeClr>
          </a:effectRef>
          <a:fontRef idx="minor">
            <a:schemeClr val="lt1"/>
          </a:fontRef>
        </p:style>
        <p:txBody>
          <a:bodyPr spcFirstLastPara="0" vert="horz" wrap="square" lIns="721278" tIns="40640" rIns="721279" bIns="40640" numCol="1" spcCol="1270" anchor="ctr" anchorCtr="0">
            <a:noAutofit/>
          </a:bodyPr>
          <a:lstStyle/>
          <a:p>
            <a:pPr marL="0" lvl="0" indent="0" algn="ctr" defTabSz="1422400">
              <a:lnSpc>
                <a:spcPct val="90000"/>
              </a:lnSpc>
              <a:spcBef>
                <a:spcPct val="0"/>
              </a:spcBef>
              <a:spcAft>
                <a:spcPct val="35000"/>
              </a:spcAft>
              <a:buNone/>
            </a:pPr>
            <a:endParaRPr lang="en-GB" sz="3200" kern="1200" dirty="0">
              <a:latin typeface="Arial" panose="020B0604020202020204" pitchFamily="34" charset="0"/>
            </a:endParaRPr>
          </a:p>
        </p:txBody>
      </p:sp>
      <p:cxnSp>
        <p:nvCxnSpPr>
          <p:cNvPr id="18" name="Gerader Verbinder 17"/>
          <p:cNvCxnSpPr/>
          <p:nvPr/>
        </p:nvCxnSpPr>
        <p:spPr>
          <a:xfrm>
            <a:off x="1948547" y="3045901"/>
            <a:ext cx="3875204"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V="1">
            <a:off x="2596775" y="3991627"/>
            <a:ext cx="3226976" cy="1"/>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flipV="1">
            <a:off x="3245002" y="4928474"/>
            <a:ext cx="2578749" cy="2"/>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2189006" y="2100175"/>
            <a:ext cx="3634745" cy="945726"/>
          </a:xfrm>
          <a:prstGeom prst="rect">
            <a:avLst/>
          </a:prstGeom>
        </p:spPr>
        <p:txBody>
          <a:bodyPr vert="horz" wrap="square" lIns="0" tIns="0" rIns="0" bIns="0" rtlCol="0" anchor="ctr" anchorCtr="0">
            <a:noAutofit/>
          </a:bodyPr>
          <a:lstStyle/>
          <a:p>
            <a:pPr marL="0" indent="0">
              <a:lnSpc>
                <a:spcPct val="93000"/>
              </a:lnSpc>
              <a:spcAft>
                <a:spcPts val="600"/>
              </a:spcAft>
              <a:buNone/>
            </a:pPr>
            <a:r>
              <a:rPr lang="en-GB" sz="1600" dirty="0"/>
              <a:t>Subtitle</a:t>
            </a:r>
          </a:p>
          <a:p>
            <a:pPr marL="0" indent="0">
              <a:lnSpc>
                <a:spcPct val="93000"/>
              </a:lnSpc>
              <a:buNone/>
            </a:pPr>
            <a:r>
              <a:rPr lang="en-GB" sz="1400" dirty="0"/>
              <a:t>Lorem ipsum </a:t>
            </a:r>
            <a:r>
              <a:rPr lang="en-GB" sz="1400" dirty="0" err="1"/>
              <a:t>dolor</a:t>
            </a:r>
            <a:r>
              <a:rPr lang="en-GB" sz="1400" dirty="0"/>
              <a:t> sit </a:t>
            </a:r>
            <a:r>
              <a:rPr lang="en-GB" sz="1400" dirty="0" err="1"/>
              <a:t>amet</a:t>
            </a:r>
            <a:r>
              <a:rPr lang="en-GB" sz="1400" dirty="0"/>
              <a:t>, </a:t>
            </a:r>
            <a:r>
              <a:rPr lang="en-GB" sz="1400" dirty="0" err="1"/>
              <a:t>consectetuer</a:t>
            </a:r>
            <a:r>
              <a:rPr lang="en-GB" sz="1400" dirty="0"/>
              <a:t> </a:t>
            </a:r>
            <a:r>
              <a:rPr lang="en-GB" sz="1400" dirty="0" err="1"/>
              <a:t>adipiscing</a:t>
            </a:r>
            <a:r>
              <a:rPr lang="en-GB" sz="1400" dirty="0"/>
              <a:t> </a:t>
            </a:r>
            <a:r>
              <a:rPr lang="en-GB" sz="1400" dirty="0" err="1"/>
              <a:t>elit</a:t>
            </a:r>
            <a:r>
              <a:rPr lang="en-GB" sz="1400" dirty="0"/>
              <a:t>. Maecenas </a:t>
            </a:r>
            <a:r>
              <a:rPr lang="en-GB" sz="1400" dirty="0" err="1"/>
              <a:t>porttito</a:t>
            </a:r>
            <a:r>
              <a:rPr lang="en-GB" sz="1400" dirty="0"/>
              <a:t>.</a:t>
            </a:r>
          </a:p>
        </p:txBody>
      </p:sp>
      <p:sp>
        <p:nvSpPr>
          <p:cNvPr id="28" name="Textfeld 27"/>
          <p:cNvSpPr txBox="1"/>
          <p:nvPr/>
        </p:nvSpPr>
        <p:spPr>
          <a:xfrm>
            <a:off x="3485461" y="3991628"/>
            <a:ext cx="2338290" cy="945726"/>
          </a:xfrm>
          <a:prstGeom prst="rect">
            <a:avLst/>
          </a:prstGeom>
        </p:spPr>
        <p:txBody>
          <a:bodyPr vert="horz" wrap="square" lIns="0" tIns="0" rIns="0" bIns="0" rtlCol="0" anchor="ctr" anchorCtr="0">
            <a:noAutofit/>
          </a:bodyPr>
          <a:lstStyle/>
          <a:p>
            <a:pPr marL="0" indent="0">
              <a:lnSpc>
                <a:spcPct val="93000"/>
              </a:lnSpc>
              <a:spcAft>
                <a:spcPts val="600"/>
              </a:spcAft>
              <a:buNone/>
            </a:pPr>
            <a:r>
              <a:rPr lang="en-GB" sz="1600" dirty="0"/>
              <a:t>Subtitle</a:t>
            </a:r>
          </a:p>
          <a:p>
            <a:pPr marL="0" indent="0">
              <a:lnSpc>
                <a:spcPct val="93000"/>
              </a:lnSpc>
              <a:buNone/>
            </a:pPr>
            <a:r>
              <a:rPr lang="en-GB" sz="1400" dirty="0" err="1"/>
              <a:t>Fusce</a:t>
            </a:r>
            <a:r>
              <a:rPr lang="en-GB" sz="1400" dirty="0"/>
              <a:t> </a:t>
            </a:r>
            <a:r>
              <a:rPr lang="en-GB" sz="1400" dirty="0" err="1"/>
              <a:t>posuere</a:t>
            </a:r>
            <a:r>
              <a:rPr lang="en-GB" sz="1400" dirty="0"/>
              <a:t>, magna </a:t>
            </a:r>
            <a:r>
              <a:rPr lang="en-GB" sz="1400" dirty="0" err="1"/>
              <a:t>sed</a:t>
            </a:r>
            <a:r>
              <a:rPr lang="en-GB" sz="1400" dirty="0"/>
              <a:t> pulvinar </a:t>
            </a:r>
            <a:r>
              <a:rPr lang="en-GB" sz="1400" dirty="0" err="1"/>
              <a:t>ultricies</a:t>
            </a:r>
            <a:r>
              <a:rPr lang="en-GB" sz="1400" dirty="0"/>
              <a:t>.</a:t>
            </a:r>
          </a:p>
        </p:txBody>
      </p:sp>
      <p:sp>
        <p:nvSpPr>
          <p:cNvPr id="30" name="Textfeld 29"/>
          <p:cNvSpPr txBox="1"/>
          <p:nvPr/>
        </p:nvSpPr>
        <p:spPr>
          <a:xfrm>
            <a:off x="2837233" y="3045902"/>
            <a:ext cx="2986518" cy="945726"/>
          </a:xfrm>
          <a:prstGeom prst="rect">
            <a:avLst/>
          </a:prstGeom>
        </p:spPr>
        <p:txBody>
          <a:bodyPr vert="horz" wrap="square" lIns="0" tIns="0" rIns="0" bIns="0" rtlCol="0" anchor="ctr" anchorCtr="0">
            <a:noAutofit/>
          </a:bodyPr>
          <a:lstStyle/>
          <a:p>
            <a:pPr marL="0" indent="0">
              <a:lnSpc>
                <a:spcPct val="93000"/>
              </a:lnSpc>
              <a:spcAft>
                <a:spcPts val="600"/>
              </a:spcAft>
              <a:buNone/>
            </a:pPr>
            <a:r>
              <a:rPr lang="en-GB" sz="1600" dirty="0"/>
              <a:t>Subtitle</a:t>
            </a:r>
          </a:p>
          <a:p>
            <a:pPr marL="0" indent="0">
              <a:lnSpc>
                <a:spcPct val="93000"/>
              </a:lnSpc>
              <a:buNone/>
            </a:pPr>
            <a:r>
              <a:rPr lang="en-GB" sz="1400" dirty="0" err="1"/>
              <a:t>Vivamus</a:t>
            </a:r>
            <a:r>
              <a:rPr lang="en-GB" sz="1400" dirty="0"/>
              <a:t> a </a:t>
            </a:r>
            <a:r>
              <a:rPr lang="en-GB" sz="1400" dirty="0" err="1"/>
              <a:t>tellus</a:t>
            </a:r>
            <a:r>
              <a:rPr lang="en-GB" sz="1400" dirty="0"/>
              <a:t>. </a:t>
            </a:r>
            <a:r>
              <a:rPr lang="en-GB" sz="1400" dirty="0" err="1"/>
              <a:t>Pellentesque</a:t>
            </a:r>
            <a:r>
              <a:rPr lang="en-GB" sz="1400" dirty="0"/>
              <a:t> habitant </a:t>
            </a:r>
            <a:r>
              <a:rPr lang="en-GB" sz="1400" dirty="0" err="1"/>
              <a:t>morbi</a:t>
            </a:r>
            <a:r>
              <a:rPr lang="en-GB" sz="1400" dirty="0"/>
              <a:t> </a:t>
            </a:r>
            <a:r>
              <a:rPr lang="en-GB" sz="1400" dirty="0" err="1"/>
              <a:t>tristique</a:t>
            </a:r>
            <a:r>
              <a:rPr lang="en-GB" sz="1400" dirty="0"/>
              <a:t> </a:t>
            </a:r>
            <a:r>
              <a:rPr lang="en-GB" sz="1400" dirty="0" err="1"/>
              <a:t>senectus</a:t>
            </a:r>
            <a:r>
              <a:rPr lang="en-GB" sz="1400" dirty="0"/>
              <a:t>.</a:t>
            </a:r>
          </a:p>
        </p:txBody>
      </p:sp>
      <p:sp>
        <p:nvSpPr>
          <p:cNvPr id="4" name="AllOverBar"/>
          <p:cNvSpPr/>
          <p:nvPr/>
        </p:nvSpPr>
        <p:spPr>
          <a:xfrm>
            <a:off x="0" y="5598254"/>
            <a:ext cx="12192000" cy="6994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69900" tIns="72009" rIns="469900" bIns="72009" rtlCol="0" anchor="b" anchorCtr="0">
            <a:spAutoFit/>
          </a:bodyPr>
          <a:lstStyle/>
          <a:p>
            <a:pPr eaLnBrk="1" fontAlgn="auto" hangingPunct="1"/>
            <a:r>
              <a:rPr lang="en-GB">
                <a:solidFill>
                  <a:schemeClr val="bg1"/>
                </a:solidFill>
              </a:rPr>
              <a:t>Lorem ipsum dolor sit amet, consectetuer adipiscing elit. Maecenas porttitor congue massa. Fusce posuere, magna sed pulvinar ultricies, purus lectus malesuada libero, sit amet commodo magna eros quis urna.</a:t>
            </a:r>
            <a:endParaRPr lang="en-GB" dirty="0">
              <a:solidFill>
                <a:schemeClr val="bg1"/>
              </a:solidFill>
            </a:endParaRPr>
          </a:p>
        </p:txBody>
      </p:sp>
      <p:graphicFrame>
        <p:nvGraphicFramePr>
          <p:cNvPr id="33" name="Tabelle 32"/>
          <p:cNvGraphicFramePr>
            <a:graphicFrameLocks noGrp="1"/>
          </p:cNvGraphicFramePr>
          <p:nvPr/>
        </p:nvGraphicFramePr>
        <p:xfrm>
          <a:off x="6322100" y="1416050"/>
          <a:ext cx="5400000" cy="1498015"/>
        </p:xfrm>
        <a:graphic>
          <a:graphicData uri="http://schemas.openxmlformats.org/drawingml/2006/table">
            <a:tbl>
              <a:tblPr firstRow="1" bandRow="1">
                <a:tableStyleId>{C083E6E3-FA7D-4D7B-A595-EF9225AFEA82}</a:tableStyleId>
              </a:tblPr>
              <a:tblGrid>
                <a:gridCol w="5400000">
                  <a:extLst>
                    <a:ext uri="{9D8B030D-6E8A-4147-A177-3AD203B41FA5}">
                      <a16:colId xmlns:a16="http://schemas.microsoft.com/office/drawing/2014/main" val="743653698"/>
                    </a:ext>
                  </a:extLst>
                </a:gridCol>
              </a:tblGrid>
              <a:tr h="370840">
                <a:tc>
                  <a:txBody>
                    <a:bodyPr/>
                    <a:lstStyle/>
                    <a:p>
                      <a:pPr algn="l"/>
                      <a:r>
                        <a:rPr lang="en-GB" sz="1800" b="0" dirty="0">
                          <a:solidFill>
                            <a:srgbClr val="000000"/>
                          </a:solidFill>
                          <a:latin typeface="BMWGroupTN Condensed" pitchFamily="50" charset="0"/>
                          <a:sym typeface="BMW Group Condensed" panose="020B0606020202020204" pitchFamily="34" charset="0"/>
                        </a:rPr>
                        <a:t>Placeholder</a:t>
                      </a: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accent5"/>
                    </a:solidFill>
                  </a:tcPr>
                </a:tc>
                <a:extLst>
                  <a:ext uri="{0D108BD9-81ED-4DB2-BD59-A6C34878D82A}">
                    <a16:rowId xmlns:a16="http://schemas.microsoft.com/office/drawing/2014/main" val="2576368964"/>
                  </a:ext>
                </a:extLst>
              </a:tr>
              <a:tr h="370840">
                <a:tc>
                  <a:txBody>
                    <a:bodyPr/>
                    <a:lstStyle/>
                    <a:p>
                      <a:pPr marL="174625" indent="-174625" algn="l">
                        <a:lnSpc>
                          <a:spcPct val="93000"/>
                        </a:lnSpc>
                        <a:spcBef>
                          <a:spcPts val="0"/>
                        </a:spcBef>
                        <a:spcAft>
                          <a:spcPts val="600"/>
                        </a:spcAft>
                        <a:buClr>
                          <a:srgbClr val="7F7F7F"/>
                        </a:buClr>
                        <a:buFont typeface="Wingdings" panose="05000000000000000000" pitchFamily="2" charset="2"/>
                        <a:buChar char="§"/>
                      </a:pPr>
                      <a:r>
                        <a:rPr lang="en-GB" sz="1600" b="0" dirty="0">
                          <a:solidFill>
                            <a:srgbClr val="000000"/>
                          </a:solidFill>
                          <a:latin typeface="BMWGroupTN Condensed" pitchFamily="50" charset="0"/>
                          <a:sym typeface="BMW Group Condensed" panose="020B0606020202020204" pitchFamily="34" charset="0"/>
                        </a:rPr>
                        <a:t>The text demonstrates how your own text will look when you replace the placeholder text.</a:t>
                      </a:r>
                    </a:p>
                    <a:p>
                      <a:pPr marL="174625" indent="-174625" algn="l">
                        <a:lnSpc>
                          <a:spcPct val="93000"/>
                        </a:lnSpc>
                        <a:spcBef>
                          <a:spcPts val="0"/>
                        </a:spcBef>
                        <a:spcAft>
                          <a:spcPts val="600"/>
                        </a:spcAft>
                        <a:buClr>
                          <a:srgbClr val="7F7F7F"/>
                        </a:buClr>
                        <a:buFont typeface="Wingdings" panose="05000000000000000000" pitchFamily="2" charset="2"/>
                        <a:buChar char="§"/>
                      </a:pPr>
                      <a:r>
                        <a:rPr lang="en-GB" sz="1600" b="0" dirty="0">
                          <a:solidFill>
                            <a:srgbClr val="000000"/>
                          </a:solidFill>
                          <a:latin typeface="BMWGroupTN Condensed" pitchFamily="50" charset="0"/>
                          <a:sym typeface="BMW Group Condensed" panose="020B0606020202020204" pitchFamily="34" charset="0"/>
                        </a:rPr>
                        <a:t>The text that you insert will retain the same style and format as the placeholder text.</a:t>
                      </a:r>
                    </a:p>
                  </a:txBody>
                  <a:tcPr marL="72009" marR="72009" marT="108000"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462140247"/>
                  </a:ext>
                </a:extLst>
              </a:tr>
            </a:tbl>
          </a:graphicData>
        </a:graphic>
      </p:graphicFrame>
    </p:spTree>
    <p:custDataLst>
      <p:tags r:id="rId1"/>
    </p:custDataLst>
    <p:extLst>
      <p:ext uri="{BB962C8B-B14F-4D97-AF65-F5344CB8AC3E}">
        <p14:creationId xmlns:p14="http://schemas.microsoft.com/office/powerpoint/2010/main" val="2246805316"/>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BF2B955-0C0A-4DE4-90BA-F285DC7C8C8F}"/>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GroupTN Condensed" pitchFamily="50" charset="0"/>
              <a:ea typeface="+mj-ea"/>
              <a:cs typeface="+mj-cs"/>
              <a:sym typeface="BMW Group Condensed" panose="020B0606020202020204" pitchFamily="34" charset="0"/>
            </a:endParaRPr>
          </a:p>
        </p:txBody>
      </p:sp>
      <p:sp>
        <p:nvSpPr>
          <p:cNvPr id="204802" name="Rectangle 2"/>
          <p:cNvSpPr>
            <a:spLocks noGrp="1" noChangeArrowheads="1"/>
          </p:cNvSpPr>
          <p:nvPr>
            <p:ph type="title"/>
          </p:nvPr>
        </p:nvSpPr>
        <p:spPr>
          <a:xfrm>
            <a:off x="488950" y="347663"/>
            <a:ext cx="11225213" cy="800219"/>
          </a:xfrm>
        </p:spPr>
        <p:txBody>
          <a:bodyPr vert="horz"/>
          <a:lstStyle/>
          <a:p>
            <a:r>
              <a:rPr lang="en-GB" altLang="zh-CN" dirty="0" err="1"/>
              <a:t>Cyklus</a:t>
            </a:r>
            <a:r>
              <a:rPr lang="en-GB" altLang="zh-CN" dirty="0"/>
              <a:t>.</a:t>
            </a:r>
            <a:br>
              <a:rPr lang="en-GB" altLang="zh-CN" dirty="0"/>
            </a:br>
            <a:r>
              <a:rPr lang="en-GB" altLang="zh-CN" dirty="0" err="1"/>
              <a:t>Smartart</a:t>
            </a:r>
            <a:r>
              <a:rPr lang="en-GB" altLang="zh-CN" dirty="0"/>
              <a:t> – Please edit Alignment manually.</a:t>
            </a:r>
          </a:p>
        </p:txBody>
      </p:sp>
      <p:graphicFrame>
        <p:nvGraphicFramePr>
          <p:cNvPr id="48" name="Diagramm 47"/>
          <p:cNvGraphicFramePr/>
          <p:nvPr/>
        </p:nvGraphicFramePr>
        <p:xfrm>
          <a:off x="3096680" y="1409699"/>
          <a:ext cx="6009220" cy="4714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tags r:id="rId1"/>
    </p:custDataLst>
    <p:extLst>
      <p:ext uri="{BB962C8B-B14F-4D97-AF65-F5344CB8AC3E}">
        <p14:creationId xmlns:p14="http://schemas.microsoft.com/office/powerpoint/2010/main" val="3533737628"/>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5F68154-B7F8-4BAA-9FEA-CA28695D72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3" name="Objekt 2" hidden="1">
                        <a:extLst>
                          <a:ext uri="{FF2B5EF4-FFF2-40B4-BE49-F238E27FC236}">
                            <a16:creationId xmlns:a16="http://schemas.microsoft.com/office/drawing/2014/main" id="{35F68154-B7F8-4BAA-9FEA-CA28695D72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488950" y="347663"/>
            <a:ext cx="11225213" cy="400110"/>
          </a:xfrm>
        </p:spPr>
        <p:txBody>
          <a:bodyPr vert="horz"/>
          <a:lstStyle/>
          <a:p>
            <a:r>
              <a:rPr lang="en-GB" dirty="0"/>
              <a:t>Timetable.</a:t>
            </a:r>
          </a:p>
        </p:txBody>
      </p:sp>
      <p:graphicFrame>
        <p:nvGraphicFramePr>
          <p:cNvPr id="14" name="Tabelle 13"/>
          <p:cNvGraphicFramePr>
            <a:graphicFrameLocks noGrp="1"/>
          </p:cNvGraphicFramePr>
          <p:nvPr/>
        </p:nvGraphicFramePr>
        <p:xfrm>
          <a:off x="482600" y="1052513"/>
          <a:ext cx="11239500" cy="370840"/>
        </p:xfrm>
        <a:graphic>
          <a:graphicData uri="http://schemas.openxmlformats.org/drawingml/2006/table">
            <a:tbl>
              <a:tblPr firstRow="1" bandRow="1">
                <a:tableStyleId>{C083E6E3-FA7D-4D7B-A595-EF9225AFEA82}</a:tableStyleId>
              </a:tblPr>
              <a:tblGrid>
                <a:gridCol w="11239500">
                  <a:extLst>
                    <a:ext uri="{9D8B030D-6E8A-4147-A177-3AD203B41FA5}">
                      <a16:colId xmlns:a16="http://schemas.microsoft.com/office/drawing/2014/main" val="2139059132"/>
                    </a:ext>
                  </a:extLst>
                </a:gridCol>
              </a:tblGrid>
              <a:tr h="370840">
                <a:tc>
                  <a:txBody>
                    <a:bodyPr/>
                    <a:lstStyle/>
                    <a:p>
                      <a:pPr algn="l"/>
                      <a:r>
                        <a:rPr lang="en-GB" sz="1800" b="0" dirty="0">
                          <a:solidFill>
                            <a:srgbClr val="000000"/>
                          </a:solidFill>
                          <a:latin typeface="BMWGroupTN Condensed" pitchFamily="50" charset="0"/>
                          <a:sym typeface="BMW Group Condensed" panose="020B0606020202020204" pitchFamily="34" charset="0"/>
                        </a:rPr>
                        <a:t>Subtitle.</a:t>
                      </a:r>
                    </a:p>
                  </a:txBody>
                  <a:tcPr marL="72000" marR="72000" marT="35941" marB="3594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0" cmpd="sng">
                      <a:solidFill>
                        <a:schemeClr val="accent3"/>
                      </a:solidFill>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918348550"/>
                  </a:ext>
                </a:extLst>
              </a:tr>
            </a:tbl>
          </a:graphicData>
        </a:graphic>
      </p:graphicFrame>
      <p:graphicFrame>
        <p:nvGraphicFramePr>
          <p:cNvPr id="30" name="Tabelle 8"/>
          <p:cNvGraphicFramePr>
            <a:graphicFrameLocks noGrp="1"/>
          </p:cNvGraphicFramePr>
          <p:nvPr/>
        </p:nvGraphicFramePr>
        <p:xfrm>
          <a:off x="482600" y="1668174"/>
          <a:ext cx="11239502" cy="4391960"/>
        </p:xfrm>
        <a:graphic>
          <a:graphicData uri="http://schemas.openxmlformats.org/drawingml/2006/table">
            <a:tbl>
              <a:tblPr firstRow="1" bandRow="1">
                <a:tableStyleId>{C083E6E3-FA7D-4D7B-A595-EF9225AFEA82}</a:tableStyleId>
              </a:tblPr>
              <a:tblGrid>
                <a:gridCol w="1873250">
                  <a:extLst>
                    <a:ext uri="{9D8B030D-6E8A-4147-A177-3AD203B41FA5}">
                      <a16:colId xmlns:a16="http://schemas.microsoft.com/office/drawing/2014/main" val="2947035911"/>
                    </a:ext>
                  </a:extLst>
                </a:gridCol>
                <a:gridCol w="1561042">
                  <a:extLst>
                    <a:ext uri="{9D8B030D-6E8A-4147-A177-3AD203B41FA5}">
                      <a16:colId xmlns:a16="http://schemas.microsoft.com/office/drawing/2014/main" val="994343291"/>
                    </a:ext>
                  </a:extLst>
                </a:gridCol>
                <a:gridCol w="1561042">
                  <a:extLst>
                    <a:ext uri="{9D8B030D-6E8A-4147-A177-3AD203B41FA5}">
                      <a16:colId xmlns:a16="http://schemas.microsoft.com/office/drawing/2014/main" val="4023007080"/>
                    </a:ext>
                  </a:extLst>
                </a:gridCol>
                <a:gridCol w="1561042">
                  <a:extLst>
                    <a:ext uri="{9D8B030D-6E8A-4147-A177-3AD203B41FA5}">
                      <a16:colId xmlns:a16="http://schemas.microsoft.com/office/drawing/2014/main" val="71575980"/>
                    </a:ext>
                  </a:extLst>
                </a:gridCol>
                <a:gridCol w="1561042">
                  <a:extLst>
                    <a:ext uri="{9D8B030D-6E8A-4147-A177-3AD203B41FA5}">
                      <a16:colId xmlns:a16="http://schemas.microsoft.com/office/drawing/2014/main" val="4001487610"/>
                    </a:ext>
                  </a:extLst>
                </a:gridCol>
                <a:gridCol w="1561042">
                  <a:extLst>
                    <a:ext uri="{9D8B030D-6E8A-4147-A177-3AD203B41FA5}">
                      <a16:colId xmlns:a16="http://schemas.microsoft.com/office/drawing/2014/main" val="178010045"/>
                    </a:ext>
                  </a:extLst>
                </a:gridCol>
                <a:gridCol w="1561042">
                  <a:extLst>
                    <a:ext uri="{9D8B030D-6E8A-4147-A177-3AD203B41FA5}">
                      <a16:colId xmlns:a16="http://schemas.microsoft.com/office/drawing/2014/main" val="4052261441"/>
                    </a:ext>
                  </a:extLst>
                </a:gridCol>
              </a:tblGrid>
              <a:tr h="374224">
                <a:tc rowSpan="2">
                  <a:txBody>
                    <a:bodyPr/>
                    <a:lstStyle/>
                    <a:p>
                      <a:pPr algn="l"/>
                      <a:r>
                        <a:rPr lang="en-GB" b="0" dirty="0">
                          <a:solidFill>
                            <a:srgbClr val="000000"/>
                          </a:solidFill>
                          <a:latin typeface="BMWGroupTN Condensed" pitchFamily="50" charset="0"/>
                          <a:sym typeface="BMW Group Condensed" panose="020B0606020202020204" pitchFamily="34" charset="0"/>
                        </a:rPr>
                        <a:t>Text</a:t>
                      </a:r>
                    </a:p>
                  </a:txBody>
                  <a:tcPr marL="72009" marR="72009" marT="35941" marB="35941">
                    <a:lnL w="19050" cap="flat" cmpd="sng" algn="ctr">
                      <a:noFill/>
                      <a:prstDash val="solid"/>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9525" cap="flat" cmpd="sng" algn="ctr">
                      <a:solidFill>
                        <a:schemeClr val="tx2"/>
                      </a:solidFill>
                      <a:prstDash val="solid"/>
                      <a:round/>
                      <a:headEnd type="none" w="med" len="med"/>
                      <a:tailEnd type="none" w="med" len="med"/>
                    </a:lnB>
                    <a:solidFill>
                      <a:schemeClr val="bg1">
                        <a:alpha val="70000"/>
                      </a:schemeClr>
                    </a:solidFill>
                  </a:tcPr>
                </a:tc>
                <a:tc gridSpan="4">
                  <a:txBody>
                    <a:bodyPr/>
                    <a:lstStyle/>
                    <a:p>
                      <a:pPr algn="l"/>
                      <a:r>
                        <a:rPr lang="en-GB" b="0" dirty="0" err="1">
                          <a:solidFill>
                            <a:srgbClr val="000000"/>
                          </a:solidFill>
                          <a:latin typeface="BMWGroupTN Condensed" pitchFamily="50" charset="0"/>
                          <a:sym typeface="BMW Group Condensed" panose="020B0606020202020204" pitchFamily="34" charset="0"/>
                        </a:rPr>
                        <a:t>Jahr</a:t>
                      </a:r>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tc hMerge="1">
                  <a:txBody>
                    <a:bodyPr/>
                    <a:lstStyle/>
                    <a:p>
                      <a:endParaRPr lang="en-US"/>
                    </a:p>
                  </a:txBody>
                  <a:tcPr/>
                </a:tc>
                <a:tc hMerge="1">
                  <a:txBody>
                    <a:bodyPr/>
                    <a:lstStyle/>
                    <a:p>
                      <a:endParaRPr lang="en-US" dirty="0"/>
                    </a:p>
                  </a:txBody>
                  <a:tcPr/>
                </a:tc>
                <a:tc hMerge="1">
                  <a:txBody>
                    <a:bodyPr/>
                    <a:lstStyle/>
                    <a:p>
                      <a:endParaRPr lang="en-US" dirty="0"/>
                    </a:p>
                  </a:txBody>
                  <a:tcPr/>
                </a:tc>
                <a:tc gridSpan="2">
                  <a:txBody>
                    <a:bodyPr/>
                    <a:lstStyle/>
                    <a:p>
                      <a:pPr algn="l"/>
                      <a:r>
                        <a:rPr lang="en-GB" b="0" dirty="0" err="1">
                          <a:solidFill>
                            <a:srgbClr val="000000"/>
                          </a:solidFill>
                          <a:latin typeface="BMWGroupTN Condensed" pitchFamily="50" charset="0"/>
                          <a:sym typeface="BMW Group Condensed" panose="020B0606020202020204" pitchFamily="34" charset="0"/>
                        </a:rPr>
                        <a:t>Jahr</a:t>
                      </a:r>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tc hMerge="1">
                  <a:txBody>
                    <a:bodyPr/>
                    <a:lstStyle/>
                    <a:p>
                      <a:endParaRPr lang="en-US" dirty="0"/>
                    </a:p>
                  </a:txBody>
                  <a:tcPr/>
                </a:tc>
                <a:extLst>
                  <a:ext uri="{0D108BD9-81ED-4DB2-BD59-A6C34878D82A}">
                    <a16:rowId xmlns:a16="http://schemas.microsoft.com/office/drawing/2014/main" val="570265118"/>
                  </a:ext>
                </a:extLst>
              </a:tr>
              <a:tr h="374224">
                <a:tc vMerge="1">
                  <a:txBody>
                    <a:bodyPr/>
                    <a:lstStyle/>
                    <a:p>
                      <a:endParaRPr lang="en-US"/>
                    </a:p>
                  </a:txBody>
                  <a:tcPr/>
                </a:tc>
                <a:tc>
                  <a:txBody>
                    <a:bodyPr/>
                    <a:lstStyle/>
                    <a:p>
                      <a:pPr algn="l"/>
                      <a:r>
                        <a:rPr lang="en-GB" b="0">
                          <a:solidFill>
                            <a:srgbClr val="000000"/>
                          </a:solidFill>
                          <a:latin typeface="BMWGroupTN Condensed" pitchFamily="50" charset="0"/>
                          <a:sym typeface="BMW Group Condensed" panose="020B0606020202020204" pitchFamily="34" charset="0"/>
                        </a:rPr>
                        <a:t>Q1</a:t>
                      </a:r>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accent5"/>
                    </a:solidFill>
                  </a:tcPr>
                </a:tc>
                <a:tc>
                  <a:txBody>
                    <a:bodyPr/>
                    <a:lstStyle/>
                    <a:p>
                      <a:pPr algn="l"/>
                      <a:r>
                        <a:rPr lang="en-GB" b="0">
                          <a:solidFill>
                            <a:srgbClr val="000000"/>
                          </a:solidFill>
                          <a:latin typeface="BMWGroupTN Condensed" pitchFamily="50" charset="0"/>
                          <a:sym typeface="BMW Group Condensed" panose="020B0606020202020204" pitchFamily="34" charset="0"/>
                        </a:rPr>
                        <a:t>Q2</a:t>
                      </a:r>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accent5"/>
                    </a:solidFill>
                  </a:tcPr>
                </a:tc>
                <a:tc>
                  <a:txBody>
                    <a:bodyPr/>
                    <a:lstStyle/>
                    <a:p>
                      <a:pPr algn="l"/>
                      <a:r>
                        <a:rPr lang="en-GB" b="0" dirty="0">
                          <a:solidFill>
                            <a:srgbClr val="000000"/>
                          </a:solidFill>
                          <a:latin typeface="BMWGroupTN Condensed" pitchFamily="50" charset="0"/>
                          <a:sym typeface="BMW Group Condensed" panose="020B0606020202020204" pitchFamily="34" charset="0"/>
                        </a:rPr>
                        <a:t>Q3</a:t>
                      </a: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accent5"/>
                    </a:solidFill>
                  </a:tcPr>
                </a:tc>
                <a:tc>
                  <a:txBody>
                    <a:bodyPr/>
                    <a:lstStyle/>
                    <a:p>
                      <a:pPr algn="l"/>
                      <a:r>
                        <a:rPr lang="en-GB" b="0" dirty="0">
                          <a:solidFill>
                            <a:srgbClr val="000000"/>
                          </a:solidFill>
                          <a:latin typeface="BMWGroupTN Condensed" pitchFamily="50" charset="0"/>
                          <a:sym typeface="BMW Group Condensed" panose="020B0606020202020204" pitchFamily="34" charset="0"/>
                        </a:rPr>
                        <a:t>Q4</a:t>
                      </a: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accent5"/>
                    </a:solidFill>
                  </a:tcPr>
                </a:tc>
                <a:tc>
                  <a:txBody>
                    <a:bodyPr/>
                    <a:lstStyle/>
                    <a:p>
                      <a:pPr algn="l"/>
                      <a:r>
                        <a:rPr lang="en-GB" b="0" dirty="0">
                          <a:solidFill>
                            <a:srgbClr val="000000"/>
                          </a:solidFill>
                          <a:latin typeface="BMWGroupTN Condensed" pitchFamily="50" charset="0"/>
                          <a:sym typeface="BMW Group Condensed" panose="020B0606020202020204" pitchFamily="34" charset="0"/>
                        </a:rPr>
                        <a:t>Q1</a:t>
                      </a: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accent5"/>
                    </a:solidFill>
                  </a:tcPr>
                </a:tc>
                <a:tc>
                  <a:txBody>
                    <a:bodyPr/>
                    <a:lstStyle/>
                    <a:p>
                      <a:pPr algn="l"/>
                      <a:r>
                        <a:rPr lang="en-GB" b="0" dirty="0">
                          <a:solidFill>
                            <a:srgbClr val="000000"/>
                          </a:solidFill>
                          <a:latin typeface="BMWGroupTN Condensed" pitchFamily="50" charset="0"/>
                          <a:sym typeface="BMW Group Condensed" panose="020B0606020202020204" pitchFamily="34" charset="0"/>
                        </a:rPr>
                        <a:t>Q2</a:t>
                      </a:r>
                    </a:p>
                  </a:txBody>
                  <a:tcPr marL="72009" marR="72009" marT="35941" marB="35941">
                    <a:lnL w="3175" cap="flat" cmpd="sng" algn="ctr">
                      <a:solidFill>
                        <a:schemeClr val="bg1">
                          <a:lumMod val="50000"/>
                        </a:schemeClr>
                      </a:solidFill>
                      <a:prstDash val="dot"/>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457964461"/>
                  </a:ext>
                </a:extLst>
              </a:tr>
              <a:tr h="607252">
                <a:tc>
                  <a:txBody>
                    <a:bodyPr/>
                    <a:lstStyle/>
                    <a:p>
                      <a:pPr algn="r"/>
                      <a:r>
                        <a:rPr lang="en-GB" sz="1600" b="0" dirty="0">
                          <a:solidFill>
                            <a:srgbClr val="000000"/>
                          </a:solidFill>
                          <a:latin typeface="BMWGroupTN Condensed" pitchFamily="50" charset="0"/>
                          <a:sym typeface="BMW Group Condensed" panose="020B0606020202020204" pitchFamily="34" charset="0"/>
                        </a:rPr>
                        <a:t>Aufgabe 1</a:t>
                      </a:r>
                    </a:p>
                  </a:txBody>
                  <a:tcPr marL="72009" marR="72009" marT="35941" marB="35941" anchor="ctr">
                    <a:lnL w="19050" cap="flat" cmpd="sng" algn="ctr">
                      <a:noFill/>
                      <a:prstDash val="solid"/>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alpha val="80000"/>
                      </a:schemeClr>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1905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466394326"/>
                  </a:ext>
                </a:extLst>
              </a:tr>
              <a:tr h="607252">
                <a:tc>
                  <a:txBody>
                    <a:bodyPr/>
                    <a:lstStyle/>
                    <a:p>
                      <a:pPr algn="r"/>
                      <a:r>
                        <a:rPr lang="en-GB" sz="1600" b="0">
                          <a:solidFill>
                            <a:srgbClr val="000000"/>
                          </a:solidFill>
                          <a:latin typeface="BMWGroupTN Condensed" pitchFamily="50" charset="0"/>
                          <a:sym typeface="BMW Group Condensed" panose="020B0606020202020204" pitchFamily="34" charset="0"/>
                        </a:rPr>
                        <a:t>Aufgabe 2</a:t>
                      </a:r>
                      <a:endParaRPr lang="en-GB" sz="1600" b="0" dirty="0">
                        <a:solidFill>
                          <a:srgbClr val="000000"/>
                        </a:solidFill>
                        <a:latin typeface="BMWGroupTN Condensed" pitchFamily="50" charset="0"/>
                        <a:sym typeface="BMW Group Condensed" panose="020B0606020202020204" pitchFamily="34" charset="0"/>
                      </a:endParaRPr>
                    </a:p>
                  </a:txBody>
                  <a:tcPr marL="72009" marR="72009" marT="35941" marB="35941" anchor="ctr">
                    <a:lnL w="19050" cap="flat" cmpd="sng" algn="ctr">
                      <a:noFill/>
                      <a:prstDash val="solid"/>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alpha val="80000"/>
                      </a:schemeClr>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097771203"/>
                  </a:ext>
                </a:extLst>
              </a:tr>
              <a:tr h="607252">
                <a:tc>
                  <a:txBody>
                    <a:bodyPr/>
                    <a:lstStyle/>
                    <a:p>
                      <a:pPr algn="r"/>
                      <a:r>
                        <a:rPr lang="en-GB" sz="1600" b="0">
                          <a:solidFill>
                            <a:srgbClr val="000000"/>
                          </a:solidFill>
                          <a:latin typeface="BMWGroupTN Condensed" pitchFamily="50" charset="0"/>
                          <a:sym typeface="BMW Group Condensed" panose="020B0606020202020204" pitchFamily="34" charset="0"/>
                        </a:rPr>
                        <a:t>Aufgabe 3</a:t>
                      </a:r>
                      <a:endParaRPr lang="en-GB" sz="1600" b="0" dirty="0">
                        <a:solidFill>
                          <a:srgbClr val="000000"/>
                        </a:solidFill>
                        <a:latin typeface="BMWGroupTN Condensed" pitchFamily="50" charset="0"/>
                        <a:sym typeface="BMW Group Condensed" panose="020B0606020202020204" pitchFamily="34" charset="0"/>
                      </a:endParaRPr>
                    </a:p>
                  </a:txBody>
                  <a:tcPr marL="72009" marR="72009" marT="35941" marB="35941" anchor="ctr">
                    <a:lnL w="19050" cap="flat" cmpd="sng" algn="ctr">
                      <a:noFill/>
                      <a:prstDash val="solid"/>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alpha val="80000"/>
                      </a:schemeClr>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7463768"/>
                  </a:ext>
                </a:extLst>
              </a:tr>
              <a:tr h="607252">
                <a:tc>
                  <a:txBody>
                    <a:bodyPr/>
                    <a:lstStyle/>
                    <a:p>
                      <a:pPr algn="r"/>
                      <a:r>
                        <a:rPr lang="en-GB" sz="1600" b="0">
                          <a:solidFill>
                            <a:srgbClr val="000000"/>
                          </a:solidFill>
                          <a:latin typeface="BMWGroupTN Condensed" pitchFamily="50" charset="0"/>
                          <a:sym typeface="BMW Group Condensed" panose="020B0606020202020204" pitchFamily="34" charset="0"/>
                        </a:rPr>
                        <a:t>Aufgabe 4</a:t>
                      </a:r>
                      <a:endParaRPr lang="en-GB" sz="1600" b="0" dirty="0">
                        <a:solidFill>
                          <a:srgbClr val="000000"/>
                        </a:solidFill>
                        <a:latin typeface="BMWGroupTN Condensed" pitchFamily="50" charset="0"/>
                        <a:sym typeface="BMW Group Condensed" panose="020B0606020202020204" pitchFamily="34" charset="0"/>
                      </a:endParaRPr>
                    </a:p>
                  </a:txBody>
                  <a:tcPr marL="72009" marR="72009" marT="35941" marB="35941" anchor="ctr">
                    <a:lnL w="19050" cap="flat" cmpd="sng" algn="ctr">
                      <a:noFill/>
                      <a:prstDash val="solid"/>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alpha val="80000"/>
                      </a:schemeClr>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736675139"/>
                  </a:ext>
                </a:extLst>
              </a:tr>
              <a:tr h="607252">
                <a:tc>
                  <a:txBody>
                    <a:bodyPr/>
                    <a:lstStyle/>
                    <a:p>
                      <a:pPr algn="r"/>
                      <a:r>
                        <a:rPr lang="en-GB" sz="1600" b="0">
                          <a:solidFill>
                            <a:srgbClr val="000000"/>
                          </a:solidFill>
                          <a:latin typeface="BMWGroupTN Condensed" pitchFamily="50" charset="0"/>
                          <a:sym typeface="BMW Group Condensed" panose="020B0606020202020204" pitchFamily="34" charset="0"/>
                        </a:rPr>
                        <a:t>Aufgabe 5</a:t>
                      </a:r>
                      <a:endParaRPr lang="en-GB" sz="1600" b="0" dirty="0">
                        <a:solidFill>
                          <a:srgbClr val="000000"/>
                        </a:solidFill>
                        <a:latin typeface="BMWGroupTN Condensed" pitchFamily="50" charset="0"/>
                        <a:sym typeface="BMW Group Condensed" panose="020B0606020202020204" pitchFamily="34" charset="0"/>
                      </a:endParaRPr>
                    </a:p>
                  </a:txBody>
                  <a:tcPr marL="72009" marR="72009" marT="35941" marB="35941" anchor="ctr">
                    <a:lnL w="19050" cap="flat" cmpd="sng" algn="ctr">
                      <a:noFill/>
                      <a:prstDash val="solid"/>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9525" cap="flat" cmpd="sng" algn="ctr">
                      <a:solidFill>
                        <a:schemeClr val="tx2"/>
                      </a:solidFill>
                      <a:prstDash val="solid"/>
                      <a:round/>
                      <a:headEnd type="none" w="med" len="med"/>
                      <a:tailEnd type="none" w="med" len="med"/>
                    </a:lnB>
                    <a:solidFill>
                      <a:schemeClr val="bg1">
                        <a:alpha val="80000"/>
                      </a:schemeClr>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15750057"/>
                  </a:ext>
                </a:extLst>
              </a:tr>
              <a:tr h="607252">
                <a:tc>
                  <a:txBody>
                    <a:bodyPr/>
                    <a:lstStyle/>
                    <a:p>
                      <a:pPr algn="r"/>
                      <a:r>
                        <a:rPr lang="en-GB" sz="1600" b="0">
                          <a:solidFill>
                            <a:srgbClr val="000000"/>
                          </a:solidFill>
                          <a:latin typeface="BMWGroupTN Condensed" pitchFamily="50" charset="0"/>
                          <a:sym typeface="BMW Group Condensed" panose="020B0606020202020204" pitchFamily="34" charset="0"/>
                        </a:rPr>
                        <a:t>Meilensteine</a:t>
                      </a:r>
                      <a:endParaRPr lang="en-GB" sz="1600" b="0" dirty="0">
                        <a:solidFill>
                          <a:srgbClr val="000000"/>
                        </a:solidFill>
                        <a:latin typeface="BMWGroupTN Condensed" pitchFamily="50" charset="0"/>
                        <a:sym typeface="BMW Group Condensed" panose="020B0606020202020204" pitchFamily="34" charset="0"/>
                      </a:endParaRPr>
                    </a:p>
                  </a:txBody>
                  <a:tcPr marL="72009" marR="72009" marT="35941" marB="35941" anchor="ctr">
                    <a:lnL w="19050" cap="flat" cmpd="sng" algn="ctr">
                      <a:noFill/>
                      <a:prstDash val="solid"/>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alpha val="90000"/>
                      </a:schemeClr>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3175" cap="flat" cmpd="sng" algn="ctr">
                      <a:solidFill>
                        <a:schemeClr val="bg1">
                          <a:lumMod val="50000"/>
                        </a:schemeClr>
                      </a:solidFill>
                      <a:prstDash val="dot"/>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l"/>
                      <a:endParaRPr lang="en-GB" b="0" dirty="0">
                        <a:solidFill>
                          <a:srgbClr val="000000"/>
                        </a:solidFill>
                        <a:latin typeface="BMWGroupTN Condensed" pitchFamily="50" charset="0"/>
                        <a:sym typeface="BMW Group Condensed" panose="020B0606020202020204" pitchFamily="34" charset="0"/>
                      </a:endParaRPr>
                    </a:p>
                  </a:txBody>
                  <a:tcPr marL="72009" marR="72009" marT="35941" marB="35941">
                    <a:lnL w="3175" cap="flat" cmpd="sng" algn="ctr">
                      <a:solidFill>
                        <a:schemeClr val="bg1">
                          <a:lumMod val="50000"/>
                        </a:schemeClr>
                      </a:solidFill>
                      <a:prstDash val="dot"/>
                      <a:round/>
                      <a:headEnd type="none" w="med" len="med"/>
                      <a:tailEnd type="none" w="med" len="med"/>
                    </a:lnL>
                    <a:lnR w="1905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369494074"/>
                  </a:ext>
                </a:extLst>
              </a:tr>
            </a:tbl>
          </a:graphicData>
        </a:graphic>
      </p:graphicFrame>
      <p:sp>
        <p:nvSpPr>
          <p:cNvPr id="31" name="Gleichschenkliges Dreieck 4"/>
          <p:cNvSpPr/>
          <p:nvPr/>
        </p:nvSpPr>
        <p:spPr>
          <a:xfrm>
            <a:off x="4246864" y="5510647"/>
            <a:ext cx="252000" cy="180000"/>
          </a:xfrm>
          <a:prstGeom prst="triangle">
            <a:avLst/>
          </a:prstGeom>
          <a:solidFill>
            <a:schemeClr val="accent3">
              <a:lumMod val="75000"/>
            </a:schemeClr>
          </a:solidFill>
          <a:ln w="9525">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dirty="0">
              <a:solidFill>
                <a:srgbClr val="666666"/>
              </a:solidFill>
              <a:latin typeface="BMWGroupTN Condensed" pitchFamily="50" charset="0"/>
            </a:endParaRPr>
          </a:p>
        </p:txBody>
      </p:sp>
      <p:sp>
        <p:nvSpPr>
          <p:cNvPr id="32" name="Gleichschenkliges Dreieck 5"/>
          <p:cNvSpPr/>
          <p:nvPr/>
        </p:nvSpPr>
        <p:spPr>
          <a:xfrm>
            <a:off x="7047474" y="5509552"/>
            <a:ext cx="252000" cy="180000"/>
          </a:xfrm>
          <a:prstGeom prst="triangle">
            <a:avLst/>
          </a:prstGeom>
          <a:solidFill>
            <a:srgbClr val="C00000"/>
          </a:solidFill>
          <a:ln w="9525">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dirty="0">
              <a:solidFill>
                <a:srgbClr val="666666"/>
              </a:solidFill>
              <a:latin typeface="BMWGroupTN Condensed" pitchFamily="50" charset="0"/>
            </a:endParaRPr>
          </a:p>
        </p:txBody>
      </p:sp>
      <p:sp>
        <p:nvSpPr>
          <p:cNvPr id="33" name="Gleichschenkliges Dreieck 6"/>
          <p:cNvSpPr/>
          <p:nvPr/>
        </p:nvSpPr>
        <p:spPr>
          <a:xfrm>
            <a:off x="9876500" y="5509552"/>
            <a:ext cx="252000" cy="180000"/>
          </a:xfrm>
          <a:prstGeom prst="triangle">
            <a:avLst/>
          </a:prstGeom>
          <a:solidFill>
            <a:schemeClr val="accent3">
              <a:lumMod val="75000"/>
            </a:schemeClr>
          </a:solidFill>
          <a:ln w="9525">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dirty="0">
              <a:solidFill>
                <a:srgbClr val="666666"/>
              </a:solidFill>
              <a:latin typeface="BMWGroupTN Condensed" pitchFamily="50" charset="0"/>
            </a:endParaRPr>
          </a:p>
        </p:txBody>
      </p:sp>
      <p:sp>
        <p:nvSpPr>
          <p:cNvPr id="34" name="Textfeld 9"/>
          <p:cNvSpPr txBox="1"/>
          <p:nvPr/>
        </p:nvSpPr>
        <p:spPr>
          <a:xfrm>
            <a:off x="3930403" y="5755450"/>
            <a:ext cx="884922" cy="184666"/>
          </a:xfrm>
          <a:prstGeom prst="rect">
            <a:avLst/>
          </a:prstGeom>
          <a:noFill/>
        </p:spPr>
        <p:txBody>
          <a:bodyPr vert="horz" wrap="none" lIns="0" tIns="0" rIns="0" bIns="0" rtlCol="0" anchor="ctr" anchorCtr="1">
            <a:spAutoFit/>
          </a:bodyPr>
          <a:lstStyle/>
          <a:p>
            <a:pPr algn="ctr"/>
            <a:r>
              <a:rPr lang="en-GB" sz="1200" b="0" i="0" u="none" baseline="0">
                <a:solidFill>
                  <a:srgbClr val="000000"/>
                </a:solidFill>
                <a:latin typeface="BMWGroupTN Condensed" pitchFamily="50" charset="0"/>
              </a:rPr>
              <a:t>Lorem </a:t>
            </a:r>
            <a:r>
              <a:rPr lang="en-GB" sz="1200">
                <a:solidFill>
                  <a:srgbClr val="000000"/>
                </a:solidFill>
              </a:rPr>
              <a:t>egestas</a:t>
            </a:r>
            <a:endParaRPr lang="en-GB" sz="1200" b="0" i="0" u="none" baseline="0" dirty="0">
              <a:solidFill>
                <a:srgbClr val="000000"/>
              </a:solidFill>
              <a:latin typeface="BMWGroupTN Condensed" pitchFamily="50" charset="0"/>
            </a:endParaRPr>
          </a:p>
        </p:txBody>
      </p:sp>
      <p:sp>
        <p:nvSpPr>
          <p:cNvPr id="35" name="Textfeld 12"/>
          <p:cNvSpPr txBox="1"/>
          <p:nvPr/>
        </p:nvSpPr>
        <p:spPr>
          <a:xfrm>
            <a:off x="5487240" y="5755450"/>
            <a:ext cx="811119" cy="184666"/>
          </a:xfrm>
          <a:prstGeom prst="rect">
            <a:avLst/>
          </a:prstGeom>
          <a:noFill/>
        </p:spPr>
        <p:txBody>
          <a:bodyPr vert="horz" wrap="none" lIns="0" tIns="0" rIns="0" bIns="0" rtlCol="0" anchor="ctr" anchorCtr="1">
            <a:spAutoFit/>
          </a:bodyPr>
          <a:lstStyle/>
          <a:p>
            <a:pPr algn="ctr"/>
            <a:r>
              <a:rPr lang="en-GB" sz="1200">
                <a:solidFill>
                  <a:srgbClr val="000000"/>
                </a:solidFill>
              </a:rPr>
              <a:t>Adipiscing elit</a:t>
            </a:r>
            <a:endParaRPr lang="en-GB" sz="1200" b="0" i="0" u="none" baseline="0" dirty="0">
              <a:solidFill>
                <a:srgbClr val="000000"/>
              </a:solidFill>
              <a:latin typeface="BMWGroupTN Condensed" pitchFamily="50" charset="0"/>
            </a:endParaRPr>
          </a:p>
        </p:txBody>
      </p:sp>
      <p:sp>
        <p:nvSpPr>
          <p:cNvPr id="36" name="Textfeld 14"/>
          <p:cNvSpPr txBox="1"/>
          <p:nvPr/>
        </p:nvSpPr>
        <p:spPr>
          <a:xfrm>
            <a:off x="6481242" y="5718711"/>
            <a:ext cx="1384464" cy="295466"/>
          </a:xfrm>
          <a:prstGeom prst="rect">
            <a:avLst/>
          </a:prstGeom>
          <a:noFill/>
        </p:spPr>
        <p:txBody>
          <a:bodyPr vert="horz" wrap="square" lIns="0" tIns="0" rIns="0" bIns="0" rtlCol="0" anchor="ctr" anchorCtr="1">
            <a:spAutoFit/>
          </a:bodyPr>
          <a:lstStyle/>
          <a:p>
            <a:pPr algn="ctr">
              <a:lnSpc>
                <a:spcPct val="80000"/>
              </a:lnSpc>
            </a:pPr>
            <a:r>
              <a:rPr lang="en-GB" sz="1200" b="1">
                <a:solidFill>
                  <a:srgbClr val="000000"/>
                </a:solidFill>
              </a:rPr>
              <a:t>Maecenas porttitor congue</a:t>
            </a:r>
            <a:endParaRPr lang="en-GB" sz="1200" b="1" i="0" u="none" baseline="0" dirty="0">
              <a:solidFill>
                <a:srgbClr val="000000"/>
              </a:solidFill>
              <a:latin typeface="BMWGroupTN Condensed" pitchFamily="50" charset="0"/>
            </a:endParaRPr>
          </a:p>
        </p:txBody>
      </p:sp>
      <p:sp>
        <p:nvSpPr>
          <p:cNvPr id="37" name="Textfeld 16"/>
          <p:cNvSpPr txBox="1"/>
          <p:nvPr/>
        </p:nvSpPr>
        <p:spPr>
          <a:xfrm>
            <a:off x="9196670" y="5755450"/>
            <a:ext cx="1611660" cy="184666"/>
          </a:xfrm>
          <a:prstGeom prst="rect">
            <a:avLst/>
          </a:prstGeom>
          <a:noFill/>
        </p:spPr>
        <p:txBody>
          <a:bodyPr vert="horz" wrap="none" lIns="0" tIns="0" rIns="0" bIns="0" rtlCol="0" anchor="ctr" anchorCtr="1">
            <a:spAutoFit/>
          </a:bodyPr>
          <a:lstStyle/>
          <a:p>
            <a:pPr algn="ctr"/>
            <a:r>
              <a:rPr lang="en-GB" sz="1200">
                <a:solidFill>
                  <a:srgbClr val="000000"/>
                </a:solidFill>
              </a:rPr>
              <a:t>Consectetuer adipiscing elit</a:t>
            </a:r>
            <a:endParaRPr lang="en-GB" sz="1200" b="0" i="0" u="none" baseline="0" dirty="0">
              <a:solidFill>
                <a:srgbClr val="000000"/>
              </a:solidFill>
              <a:latin typeface="BMWGroupTN Condensed" pitchFamily="50" charset="0"/>
            </a:endParaRPr>
          </a:p>
        </p:txBody>
      </p:sp>
      <p:sp>
        <p:nvSpPr>
          <p:cNvPr id="62" name="Gleichschenkliges Dreieck 17"/>
          <p:cNvSpPr/>
          <p:nvPr/>
        </p:nvSpPr>
        <p:spPr>
          <a:xfrm>
            <a:off x="5766799" y="5509552"/>
            <a:ext cx="252000" cy="180000"/>
          </a:xfrm>
          <a:prstGeom prst="triangle">
            <a:avLst/>
          </a:prstGeom>
          <a:solidFill>
            <a:schemeClr val="accent3">
              <a:lumMod val="75000"/>
            </a:schemeClr>
          </a:solidFill>
          <a:ln w="9525">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dirty="0">
              <a:solidFill>
                <a:srgbClr val="666666"/>
              </a:solidFill>
              <a:latin typeface="BMWGroupTN Condensed" pitchFamily="50" charset="0"/>
            </a:endParaRPr>
          </a:p>
        </p:txBody>
      </p:sp>
      <p:sp>
        <p:nvSpPr>
          <p:cNvPr id="63" name="Rechteck 30"/>
          <p:cNvSpPr/>
          <p:nvPr/>
        </p:nvSpPr>
        <p:spPr>
          <a:xfrm>
            <a:off x="3111500" y="3241711"/>
            <a:ext cx="3721230" cy="180000"/>
          </a:xfrm>
          <a:prstGeom prst="rect">
            <a:avLst/>
          </a:prstGeom>
          <a:solidFill>
            <a:schemeClr val="accent4"/>
          </a:solidFill>
          <a:ln w="127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a:solidFill>
                <a:srgbClr val="666666"/>
              </a:solidFill>
              <a:latin typeface="BMWGroupTN Condensed" pitchFamily="50" charset="0"/>
            </a:endParaRPr>
          </a:p>
        </p:txBody>
      </p:sp>
      <p:sp>
        <p:nvSpPr>
          <p:cNvPr id="64" name="Textfeld 26"/>
          <p:cNvSpPr txBox="1"/>
          <p:nvPr/>
        </p:nvSpPr>
        <p:spPr>
          <a:xfrm>
            <a:off x="3572298" y="3518900"/>
            <a:ext cx="996218" cy="530127"/>
          </a:xfrm>
          <a:prstGeom prst="rect">
            <a:avLst/>
          </a:prstGeom>
          <a:solidFill>
            <a:schemeClr val="bg1">
              <a:alpha val="80000"/>
            </a:schemeClr>
          </a:solidFill>
        </p:spPr>
        <p:txBody>
          <a:bodyPr vert="horz" wrap="square" lIns="72000" tIns="72000" rIns="0" bIns="72000" rtlCol="0">
            <a:spAutoFit/>
          </a:bodyPr>
          <a:lstStyle/>
          <a:p>
            <a:pPr>
              <a:lnSpc>
                <a:spcPts val="1500"/>
              </a:lnSpc>
            </a:pPr>
            <a:r>
              <a:rPr lang="en-GB" sz="1400" b="1">
                <a:solidFill>
                  <a:srgbClr val="000000"/>
                </a:solidFill>
                <a:latin typeface="BMWGroupTN Condensed" pitchFamily="50" charset="0"/>
              </a:rPr>
              <a:t>Lorem </a:t>
            </a:r>
            <a:r>
              <a:rPr lang="en-GB" sz="1400">
                <a:solidFill>
                  <a:srgbClr val="000000"/>
                </a:solidFill>
                <a:latin typeface="BMWGroupTN Condensed" pitchFamily="50" charset="0"/>
              </a:rPr>
              <a:t>ipsum dolor</a:t>
            </a:r>
            <a:endParaRPr lang="en-GB" sz="1400" dirty="0">
              <a:solidFill>
                <a:srgbClr val="000000"/>
              </a:solidFill>
              <a:latin typeface="BMWGroupTN Condensed" pitchFamily="50" charset="0"/>
            </a:endParaRPr>
          </a:p>
        </p:txBody>
      </p:sp>
      <p:sp>
        <p:nvSpPr>
          <p:cNvPr id="65" name="Rechteck 27"/>
          <p:cNvSpPr/>
          <p:nvPr/>
        </p:nvSpPr>
        <p:spPr>
          <a:xfrm>
            <a:off x="3572298" y="4049027"/>
            <a:ext cx="540780" cy="215444"/>
          </a:xfrm>
          <a:prstGeom prst="rect">
            <a:avLst/>
          </a:prstGeom>
          <a:solidFill>
            <a:schemeClr val="bg2">
              <a:lumMod val="75000"/>
            </a:schemeClr>
          </a:solidFill>
          <a:ln w="9525">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txBody>
          <a:bodyPr wrap="none" lIns="36000" tIns="0" rIns="36000" bIns="0" rtlCol="0" anchor="ctr" anchorCtr="1">
            <a:spAutoFit/>
          </a:bodyPr>
          <a:lstStyle/>
          <a:p>
            <a:r>
              <a:rPr lang="en-GB" sz="1400">
                <a:solidFill>
                  <a:schemeClr val="bg1"/>
                </a:solidFill>
                <a:latin typeface="BMWGroupTN Condensed" pitchFamily="50" charset="0"/>
              </a:rPr>
              <a:t>22.05.</a:t>
            </a:r>
            <a:endParaRPr lang="en-GB" sz="1400" dirty="0">
              <a:solidFill>
                <a:schemeClr val="bg1"/>
              </a:solidFill>
              <a:latin typeface="BMWGroupTN Condensed" pitchFamily="50" charset="0"/>
            </a:endParaRPr>
          </a:p>
        </p:txBody>
      </p:sp>
      <p:cxnSp>
        <p:nvCxnSpPr>
          <p:cNvPr id="66" name="Gerader Verbinder 28"/>
          <p:cNvCxnSpPr/>
          <p:nvPr/>
        </p:nvCxnSpPr>
        <p:spPr>
          <a:xfrm>
            <a:off x="3572298" y="3407356"/>
            <a:ext cx="0" cy="680513"/>
          </a:xfrm>
          <a:prstGeom prst="line">
            <a:avLst/>
          </a:prstGeom>
          <a:ln w="9525">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67" name="Raute 29"/>
          <p:cNvSpPr/>
          <p:nvPr/>
        </p:nvSpPr>
        <p:spPr>
          <a:xfrm>
            <a:off x="3482298" y="3239222"/>
            <a:ext cx="177800" cy="177800"/>
          </a:xfrm>
          <a:prstGeom prst="diamond">
            <a:avLst/>
          </a:prstGeom>
          <a:solidFill>
            <a:schemeClr val="accent3">
              <a:lumMod val="75000"/>
            </a:schemeClr>
          </a:solidFill>
          <a:ln w="190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a:solidFill>
                <a:srgbClr val="666666"/>
              </a:solidFill>
              <a:latin typeface="BMWGroupTN Condensed" pitchFamily="50" charset="0"/>
            </a:endParaRPr>
          </a:p>
        </p:txBody>
      </p:sp>
      <p:sp>
        <p:nvSpPr>
          <p:cNvPr id="68" name="Rechteck 31"/>
          <p:cNvSpPr/>
          <p:nvPr/>
        </p:nvSpPr>
        <p:spPr>
          <a:xfrm>
            <a:off x="2577129" y="2641002"/>
            <a:ext cx="1353274" cy="180000"/>
          </a:xfrm>
          <a:prstGeom prst="rect">
            <a:avLst/>
          </a:prstGeom>
          <a:solidFill>
            <a:schemeClr val="accent4"/>
          </a:solidFill>
          <a:ln w="127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a:solidFill>
                <a:srgbClr val="666666"/>
              </a:solidFill>
              <a:latin typeface="BMWGroupTN Condensed" pitchFamily="50" charset="0"/>
            </a:endParaRPr>
          </a:p>
        </p:txBody>
      </p:sp>
      <p:sp>
        <p:nvSpPr>
          <p:cNvPr id="69" name="Rechteck 32"/>
          <p:cNvSpPr/>
          <p:nvPr/>
        </p:nvSpPr>
        <p:spPr>
          <a:xfrm>
            <a:off x="5886450" y="3846167"/>
            <a:ext cx="1380930" cy="180000"/>
          </a:xfrm>
          <a:prstGeom prst="rect">
            <a:avLst/>
          </a:prstGeom>
          <a:noFill/>
          <a:ln w="127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a:solidFill>
                <a:srgbClr val="666666"/>
              </a:solidFill>
              <a:latin typeface="BMWGroupTN Condensed" pitchFamily="50" charset="0"/>
            </a:endParaRPr>
          </a:p>
        </p:txBody>
      </p:sp>
      <p:sp>
        <p:nvSpPr>
          <p:cNvPr id="70" name="Rechteck 33"/>
          <p:cNvSpPr/>
          <p:nvPr/>
        </p:nvSpPr>
        <p:spPr>
          <a:xfrm>
            <a:off x="4705349" y="3846167"/>
            <a:ext cx="1181101" cy="180000"/>
          </a:xfrm>
          <a:prstGeom prst="rect">
            <a:avLst/>
          </a:prstGeom>
          <a:solidFill>
            <a:schemeClr val="accent4"/>
          </a:solidFill>
          <a:ln w="127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a:solidFill>
                <a:srgbClr val="666666"/>
              </a:solidFill>
              <a:latin typeface="BMWGroupTN Condensed" pitchFamily="50" charset="0"/>
            </a:endParaRPr>
          </a:p>
        </p:txBody>
      </p:sp>
      <p:sp>
        <p:nvSpPr>
          <p:cNvPr id="71" name="Rechteck 34"/>
          <p:cNvSpPr/>
          <p:nvPr/>
        </p:nvSpPr>
        <p:spPr>
          <a:xfrm>
            <a:off x="5111749" y="4454721"/>
            <a:ext cx="5040345" cy="180000"/>
          </a:xfrm>
          <a:prstGeom prst="rect">
            <a:avLst/>
          </a:prstGeom>
          <a:solidFill>
            <a:schemeClr val="accent4"/>
          </a:solidFill>
          <a:ln w="127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a:solidFill>
                <a:srgbClr val="666666"/>
              </a:solidFill>
              <a:latin typeface="BMWGroupTN Condensed" pitchFamily="50" charset="0"/>
            </a:endParaRPr>
          </a:p>
        </p:txBody>
      </p:sp>
      <p:sp>
        <p:nvSpPr>
          <p:cNvPr id="72" name="Textfeld 19"/>
          <p:cNvSpPr txBox="1"/>
          <p:nvPr/>
        </p:nvSpPr>
        <p:spPr>
          <a:xfrm>
            <a:off x="8607283" y="3098389"/>
            <a:ext cx="2285929" cy="1168763"/>
          </a:xfrm>
          <a:prstGeom prst="rect">
            <a:avLst/>
          </a:prstGeom>
          <a:solidFill>
            <a:schemeClr val="bg1">
              <a:alpha val="80000"/>
            </a:schemeClr>
          </a:solidFill>
        </p:spPr>
        <p:txBody>
          <a:bodyPr vert="horz" wrap="none" lIns="72000" tIns="72000" rIns="72000" bIns="72000" rtlCol="0">
            <a:spAutoFit/>
          </a:bodyPr>
          <a:lstStyle/>
          <a:p>
            <a:pPr marL="190500" indent="-190500">
              <a:lnSpc>
                <a:spcPts val="1500"/>
              </a:lnSpc>
            </a:pPr>
            <a:r>
              <a:rPr lang="en-GB" sz="1400" b="1">
                <a:solidFill>
                  <a:srgbClr val="000000"/>
                </a:solidFill>
                <a:latin typeface="BMWGroupTN Condensed" pitchFamily="50" charset="0"/>
              </a:rPr>
              <a:t>Proin pharetra nonummy </a:t>
            </a:r>
          </a:p>
          <a:p>
            <a:pPr>
              <a:buClr>
                <a:srgbClr val="7F7F7F"/>
              </a:buClr>
            </a:pPr>
            <a:r>
              <a:rPr lang="en-GB" sz="1200">
                <a:solidFill>
                  <a:srgbClr val="000000"/>
                </a:solidFill>
                <a:latin typeface="BMWGroupTN Condensed" pitchFamily="50" charset="0"/>
              </a:rPr>
              <a:t>Nunc viverra imperdiet enim.</a:t>
            </a:r>
          </a:p>
          <a:p>
            <a:pPr marL="190500" indent="-190500">
              <a:buClr>
                <a:srgbClr val="7F7F7F"/>
              </a:buClr>
              <a:buFont typeface="Wingdings" panose="05000000000000000000" pitchFamily="2" charset="2"/>
              <a:buChar char="§"/>
            </a:pPr>
            <a:r>
              <a:rPr lang="en-GB" sz="1400">
                <a:solidFill>
                  <a:srgbClr val="000000"/>
                </a:solidFill>
                <a:latin typeface="BMWGroupTN Condensed" pitchFamily="50" charset="0"/>
              </a:rPr>
              <a:t>Fusce est.</a:t>
            </a:r>
          </a:p>
          <a:p>
            <a:pPr marL="190500" indent="-190500">
              <a:buClr>
                <a:srgbClr val="7F7F7F"/>
              </a:buClr>
              <a:buFont typeface="Wingdings" panose="05000000000000000000" pitchFamily="2" charset="2"/>
              <a:buChar char="§"/>
            </a:pPr>
            <a:r>
              <a:rPr lang="en-GB" sz="1400">
                <a:solidFill>
                  <a:srgbClr val="000000"/>
                </a:solidFill>
                <a:latin typeface="BMWGroupTN Condensed" pitchFamily="50" charset="0"/>
              </a:rPr>
              <a:t>Vivamus a tellus.</a:t>
            </a:r>
          </a:p>
          <a:p>
            <a:pPr marL="190500" indent="-190500">
              <a:buClr>
                <a:srgbClr val="7F7F7F"/>
              </a:buClr>
              <a:buFont typeface="Wingdings" panose="05000000000000000000" pitchFamily="2" charset="2"/>
              <a:buChar char="§"/>
            </a:pPr>
            <a:r>
              <a:rPr lang="en-GB" sz="1400">
                <a:solidFill>
                  <a:srgbClr val="000000"/>
                </a:solidFill>
                <a:latin typeface="BMWGroupTN Condensed" pitchFamily="50" charset="0"/>
              </a:rPr>
              <a:t>Magna sed pulvinar ultricies</a:t>
            </a:r>
            <a:endParaRPr lang="en-GB" sz="1400" dirty="0">
              <a:solidFill>
                <a:srgbClr val="000000"/>
              </a:solidFill>
              <a:latin typeface="BMWGroupTN Condensed" pitchFamily="50" charset="0"/>
            </a:endParaRPr>
          </a:p>
        </p:txBody>
      </p:sp>
      <p:sp>
        <p:nvSpPr>
          <p:cNvPr id="73" name="Rechteck 20"/>
          <p:cNvSpPr/>
          <p:nvPr/>
        </p:nvSpPr>
        <p:spPr>
          <a:xfrm>
            <a:off x="8607283" y="2882945"/>
            <a:ext cx="540780" cy="215444"/>
          </a:xfrm>
          <a:prstGeom prst="rect">
            <a:avLst/>
          </a:prstGeom>
          <a:solidFill>
            <a:schemeClr val="bg2">
              <a:lumMod val="75000"/>
            </a:schemeClr>
          </a:solidFill>
          <a:ln w="1905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txBody>
          <a:bodyPr wrap="none" lIns="36000" tIns="0" rIns="36000" bIns="0" rtlCol="0" anchor="ctr" anchorCtr="1">
            <a:spAutoFit/>
          </a:bodyPr>
          <a:lstStyle/>
          <a:p>
            <a:r>
              <a:rPr lang="en-GB" sz="1400">
                <a:solidFill>
                  <a:schemeClr val="bg1"/>
                </a:solidFill>
                <a:latin typeface="BMWGroupTN Condensed" pitchFamily="50" charset="0"/>
              </a:rPr>
              <a:t>28.07.</a:t>
            </a:r>
            <a:endParaRPr lang="en-GB" sz="1400" dirty="0">
              <a:solidFill>
                <a:schemeClr val="bg1"/>
              </a:solidFill>
              <a:latin typeface="BMWGroupTN Condensed" pitchFamily="50" charset="0"/>
            </a:endParaRPr>
          </a:p>
        </p:txBody>
      </p:sp>
      <p:cxnSp>
        <p:nvCxnSpPr>
          <p:cNvPr id="74" name="Gerader Verbinder 21"/>
          <p:cNvCxnSpPr>
            <a:stCxn id="73" idx="1"/>
            <a:endCxn id="75" idx="0"/>
          </p:cNvCxnSpPr>
          <p:nvPr/>
        </p:nvCxnSpPr>
        <p:spPr>
          <a:xfrm flipH="1">
            <a:off x="8606902" y="2990667"/>
            <a:ext cx="381" cy="1466140"/>
          </a:xfrm>
          <a:prstGeom prst="line">
            <a:avLst/>
          </a:prstGeom>
          <a:ln w="9525">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75" name="Raute 24"/>
          <p:cNvSpPr/>
          <p:nvPr/>
        </p:nvSpPr>
        <p:spPr>
          <a:xfrm>
            <a:off x="8518002" y="4456807"/>
            <a:ext cx="177800" cy="177800"/>
          </a:xfrm>
          <a:prstGeom prst="diamond">
            <a:avLst/>
          </a:prstGeom>
          <a:solidFill>
            <a:srgbClr val="C00000"/>
          </a:solidFill>
          <a:ln w="190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dirty="0">
              <a:solidFill>
                <a:srgbClr val="666666"/>
              </a:solidFill>
              <a:latin typeface="BMWGroupTN Condensed" pitchFamily="50" charset="0"/>
            </a:endParaRPr>
          </a:p>
        </p:txBody>
      </p:sp>
      <p:sp>
        <p:nvSpPr>
          <p:cNvPr id="76" name="Rechteck 35"/>
          <p:cNvSpPr/>
          <p:nvPr/>
        </p:nvSpPr>
        <p:spPr>
          <a:xfrm>
            <a:off x="9544049" y="5064053"/>
            <a:ext cx="622287" cy="180000"/>
          </a:xfrm>
          <a:prstGeom prst="rect">
            <a:avLst/>
          </a:prstGeom>
          <a:noFill/>
          <a:ln w="127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a:solidFill>
                <a:srgbClr val="666666"/>
              </a:solidFill>
              <a:latin typeface="BMWGroupTN Condensed" pitchFamily="50" charset="0"/>
            </a:endParaRPr>
          </a:p>
        </p:txBody>
      </p:sp>
      <p:sp>
        <p:nvSpPr>
          <p:cNvPr id="77" name="Rechteck 36"/>
          <p:cNvSpPr/>
          <p:nvPr/>
        </p:nvSpPr>
        <p:spPr>
          <a:xfrm>
            <a:off x="10166336" y="5064053"/>
            <a:ext cx="1181101" cy="180000"/>
          </a:xfrm>
          <a:prstGeom prst="rect">
            <a:avLst/>
          </a:prstGeom>
          <a:solidFill>
            <a:schemeClr val="accent4"/>
          </a:solidFill>
          <a:ln w="127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a:solidFill>
                <a:srgbClr val="666666"/>
              </a:solidFill>
              <a:latin typeface="BMWGroupTN Condensed" pitchFamily="50" charset="0"/>
            </a:endParaRPr>
          </a:p>
        </p:txBody>
      </p:sp>
    </p:spTree>
    <p:custDataLst>
      <p:tags r:id="rId1"/>
    </p:custDataLst>
    <p:extLst>
      <p:ext uri="{BB962C8B-B14F-4D97-AF65-F5344CB8AC3E}">
        <p14:creationId xmlns:p14="http://schemas.microsoft.com/office/powerpoint/2010/main" val="41070446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F8C73CB-2954-4186-A1D4-A05119EB2AE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3" name="Objekt 2" hidden="1">
                        <a:extLst>
                          <a:ext uri="{FF2B5EF4-FFF2-40B4-BE49-F238E27FC236}">
                            <a16:creationId xmlns:a16="http://schemas.microsoft.com/office/drawing/2014/main" id="{8F8C73CB-2954-4186-A1D4-A05119EB2A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54D2D1E-8F43-4918-8D59-B9771AEB69AB}"/>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40963" name="_h1"/>
          <p:cNvSpPr>
            <a:spLocks noGrp="1" noChangeArrowheads="1"/>
          </p:cNvSpPr>
          <p:nvPr>
            <p:ph type="title"/>
          </p:nvPr>
        </p:nvSpPr>
        <p:spPr>
          <a:xfrm>
            <a:off x="321728" y="383678"/>
            <a:ext cx="11224684" cy="400110"/>
          </a:xfrm>
        </p:spPr>
        <p:txBody>
          <a:bodyPr/>
          <a:lstStyle/>
          <a:p>
            <a:r>
              <a:rPr lang="en-GB" altLang="de-DE" noProof="1"/>
              <a:t>PROBLEM STATEMENT</a:t>
            </a:r>
            <a:endParaRPr lang="en-GB" noProof="1"/>
          </a:p>
        </p:txBody>
      </p:sp>
      <p:grpSp>
        <p:nvGrpSpPr>
          <p:cNvPr id="6" name="Group 5">
            <a:extLst>
              <a:ext uri="{FF2B5EF4-FFF2-40B4-BE49-F238E27FC236}">
                <a16:creationId xmlns:a16="http://schemas.microsoft.com/office/drawing/2014/main" id="{CDDBB928-CF69-B6AB-C15B-4DA4EFEC9396}"/>
              </a:ext>
            </a:extLst>
          </p:cNvPr>
          <p:cNvGrpSpPr/>
          <p:nvPr/>
        </p:nvGrpSpPr>
        <p:grpSpPr>
          <a:xfrm>
            <a:off x="3194904" y="2111958"/>
            <a:ext cx="5456502" cy="2602918"/>
            <a:chOff x="2745792" y="1923000"/>
            <a:chExt cx="6714000" cy="3509390"/>
          </a:xfrm>
        </p:grpSpPr>
        <p:sp>
          <p:nvSpPr>
            <p:cNvPr id="86" name="Freeform 20"/>
            <p:cNvSpPr>
              <a:spLocks/>
            </p:cNvSpPr>
            <p:nvPr/>
          </p:nvSpPr>
          <p:spPr bwMode="auto">
            <a:xfrm>
              <a:off x="3959266" y="1923000"/>
              <a:ext cx="1974804" cy="915565"/>
            </a:xfrm>
            <a:custGeom>
              <a:avLst/>
              <a:gdLst>
                <a:gd name="T0" fmla="*/ 28 w 503"/>
                <a:gd name="T1" fmla="*/ 95 h 233"/>
                <a:gd name="T2" fmla="*/ 138 w 503"/>
                <a:gd name="T3" fmla="*/ 78 h 233"/>
                <a:gd name="T4" fmla="*/ 438 w 503"/>
                <a:gd name="T5" fmla="*/ 233 h 233"/>
                <a:gd name="T6" fmla="*/ 459 w 503"/>
                <a:gd name="T7" fmla="*/ 197 h 233"/>
                <a:gd name="T8" fmla="*/ 503 w 503"/>
                <a:gd name="T9" fmla="*/ 189 h 233"/>
                <a:gd name="T10" fmla="*/ 138 w 503"/>
                <a:gd name="T11" fmla="*/ 0 h 233"/>
                <a:gd name="T12" fmla="*/ 4 w 503"/>
                <a:gd name="T13" fmla="*/ 21 h 233"/>
                <a:gd name="T14" fmla="*/ 0 w 503"/>
                <a:gd name="T15" fmla="*/ 65 h 233"/>
                <a:gd name="T16" fmla="*/ 28 w 503"/>
                <a:gd name="T17" fmla="*/ 9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233">
                  <a:moveTo>
                    <a:pt x="28" y="95"/>
                  </a:moveTo>
                  <a:cubicBezTo>
                    <a:pt x="63" y="84"/>
                    <a:pt x="100" y="78"/>
                    <a:pt x="138" y="78"/>
                  </a:cubicBezTo>
                  <a:cubicBezTo>
                    <a:pt x="262" y="78"/>
                    <a:pt x="371" y="139"/>
                    <a:pt x="438" y="233"/>
                  </a:cubicBezTo>
                  <a:cubicBezTo>
                    <a:pt x="459" y="197"/>
                    <a:pt x="459" y="197"/>
                    <a:pt x="459" y="197"/>
                  </a:cubicBezTo>
                  <a:cubicBezTo>
                    <a:pt x="503" y="189"/>
                    <a:pt x="503" y="189"/>
                    <a:pt x="503" y="189"/>
                  </a:cubicBezTo>
                  <a:cubicBezTo>
                    <a:pt x="422" y="75"/>
                    <a:pt x="289" y="0"/>
                    <a:pt x="138" y="0"/>
                  </a:cubicBezTo>
                  <a:cubicBezTo>
                    <a:pt x="91" y="0"/>
                    <a:pt x="47" y="8"/>
                    <a:pt x="4" y="21"/>
                  </a:cubicBezTo>
                  <a:cubicBezTo>
                    <a:pt x="0" y="65"/>
                    <a:pt x="0" y="65"/>
                    <a:pt x="0" y="65"/>
                  </a:cubicBezTo>
                  <a:lnTo>
                    <a:pt x="28" y="95"/>
                  </a:lnTo>
                  <a:close/>
                </a:path>
              </a:pathLst>
            </a:custGeom>
            <a:solidFill>
              <a:schemeClr val="tx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87" name="Freeform 21"/>
            <p:cNvSpPr>
              <a:spLocks/>
            </p:cNvSpPr>
            <p:nvPr/>
          </p:nvSpPr>
          <p:spPr bwMode="auto">
            <a:xfrm>
              <a:off x="2745792" y="3662740"/>
              <a:ext cx="1318198" cy="1678259"/>
            </a:xfrm>
            <a:custGeom>
              <a:avLst/>
              <a:gdLst>
                <a:gd name="T0" fmla="*/ 331 w 336"/>
                <a:gd name="T1" fmla="*/ 355 h 428"/>
                <a:gd name="T2" fmla="*/ 78 w 336"/>
                <a:gd name="T3" fmla="*/ 4 h 428"/>
                <a:gd name="T4" fmla="*/ 78 w 336"/>
                <a:gd name="T5" fmla="*/ 1 h 428"/>
                <a:gd name="T6" fmla="*/ 41 w 336"/>
                <a:gd name="T7" fmla="*/ 18 h 428"/>
                <a:gd name="T8" fmla="*/ 0 w 336"/>
                <a:gd name="T9" fmla="*/ 0 h 428"/>
                <a:gd name="T10" fmla="*/ 0 w 336"/>
                <a:gd name="T11" fmla="*/ 4 h 428"/>
                <a:gd name="T12" fmla="*/ 305 w 336"/>
                <a:gd name="T13" fmla="*/ 428 h 428"/>
                <a:gd name="T14" fmla="*/ 336 w 336"/>
                <a:gd name="T15" fmla="*/ 395 h 428"/>
                <a:gd name="T16" fmla="*/ 331 w 336"/>
                <a:gd name="T17" fmla="*/ 35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428">
                  <a:moveTo>
                    <a:pt x="331" y="355"/>
                  </a:moveTo>
                  <a:cubicBezTo>
                    <a:pt x="184" y="306"/>
                    <a:pt x="78" y="168"/>
                    <a:pt x="78" y="4"/>
                  </a:cubicBezTo>
                  <a:cubicBezTo>
                    <a:pt x="78" y="3"/>
                    <a:pt x="78" y="2"/>
                    <a:pt x="78" y="1"/>
                  </a:cubicBezTo>
                  <a:cubicBezTo>
                    <a:pt x="41" y="18"/>
                    <a:pt x="41" y="18"/>
                    <a:pt x="41" y="18"/>
                  </a:cubicBezTo>
                  <a:cubicBezTo>
                    <a:pt x="0" y="0"/>
                    <a:pt x="0" y="0"/>
                    <a:pt x="0" y="0"/>
                  </a:cubicBezTo>
                  <a:cubicBezTo>
                    <a:pt x="0" y="2"/>
                    <a:pt x="0" y="3"/>
                    <a:pt x="0" y="4"/>
                  </a:cubicBezTo>
                  <a:cubicBezTo>
                    <a:pt x="0" y="202"/>
                    <a:pt x="128" y="369"/>
                    <a:pt x="305" y="428"/>
                  </a:cubicBezTo>
                  <a:cubicBezTo>
                    <a:pt x="336" y="395"/>
                    <a:pt x="336" y="395"/>
                    <a:pt x="336" y="395"/>
                  </a:cubicBezTo>
                  <a:lnTo>
                    <a:pt x="331" y="355"/>
                  </a:lnTo>
                  <a:close/>
                </a:path>
              </a:pathLst>
            </a:custGeom>
            <a:solidFill>
              <a:schemeClr val="tx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88" name="Freeform 22"/>
            <p:cNvSpPr>
              <a:spLocks/>
            </p:cNvSpPr>
            <p:nvPr/>
          </p:nvSpPr>
          <p:spPr bwMode="auto">
            <a:xfrm>
              <a:off x="2745792" y="2006082"/>
              <a:ext cx="1323185" cy="1726447"/>
            </a:xfrm>
            <a:custGeom>
              <a:avLst/>
              <a:gdLst>
                <a:gd name="T0" fmla="*/ 78 w 337"/>
                <a:gd name="T1" fmla="*/ 423 h 440"/>
                <a:gd name="T2" fmla="*/ 337 w 337"/>
                <a:gd name="T3" fmla="*/ 74 h 440"/>
                <a:gd name="T4" fmla="*/ 309 w 337"/>
                <a:gd name="T5" fmla="*/ 44 h 440"/>
                <a:gd name="T6" fmla="*/ 313 w 337"/>
                <a:gd name="T7" fmla="*/ 0 h 440"/>
                <a:gd name="T8" fmla="*/ 0 w 337"/>
                <a:gd name="T9" fmla="*/ 422 h 440"/>
                <a:gd name="T10" fmla="*/ 41 w 337"/>
                <a:gd name="T11" fmla="*/ 440 h 440"/>
                <a:gd name="T12" fmla="*/ 78 w 337"/>
                <a:gd name="T13" fmla="*/ 423 h 440"/>
              </a:gdLst>
              <a:ahLst/>
              <a:cxnLst>
                <a:cxn ang="0">
                  <a:pos x="T0" y="T1"/>
                </a:cxn>
                <a:cxn ang="0">
                  <a:pos x="T2" y="T3"/>
                </a:cxn>
                <a:cxn ang="0">
                  <a:pos x="T4" y="T5"/>
                </a:cxn>
                <a:cxn ang="0">
                  <a:pos x="T6" y="T7"/>
                </a:cxn>
                <a:cxn ang="0">
                  <a:pos x="T8" y="T9"/>
                </a:cxn>
                <a:cxn ang="0">
                  <a:pos x="T10" y="T11"/>
                </a:cxn>
                <a:cxn ang="0">
                  <a:pos x="T12" y="T13"/>
                </a:cxn>
              </a:cxnLst>
              <a:rect l="0" t="0" r="r" b="b"/>
              <a:pathLst>
                <a:path w="337" h="440">
                  <a:moveTo>
                    <a:pt x="78" y="423"/>
                  </a:moveTo>
                  <a:cubicBezTo>
                    <a:pt x="80" y="259"/>
                    <a:pt x="188" y="120"/>
                    <a:pt x="337" y="74"/>
                  </a:cubicBezTo>
                  <a:cubicBezTo>
                    <a:pt x="309" y="44"/>
                    <a:pt x="309" y="44"/>
                    <a:pt x="309" y="44"/>
                  </a:cubicBezTo>
                  <a:cubicBezTo>
                    <a:pt x="313" y="0"/>
                    <a:pt x="313" y="0"/>
                    <a:pt x="313" y="0"/>
                  </a:cubicBezTo>
                  <a:cubicBezTo>
                    <a:pt x="133" y="56"/>
                    <a:pt x="2" y="224"/>
                    <a:pt x="0" y="422"/>
                  </a:cubicBezTo>
                  <a:cubicBezTo>
                    <a:pt x="41" y="440"/>
                    <a:pt x="41" y="440"/>
                    <a:pt x="41" y="440"/>
                  </a:cubicBezTo>
                  <a:lnTo>
                    <a:pt x="78" y="423"/>
                  </a:lnTo>
                  <a:close/>
                </a:path>
              </a:pathLst>
            </a:custGeom>
            <a:solidFill>
              <a:schemeClr val="accent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89" name="Freeform 23"/>
            <p:cNvSpPr>
              <a:spLocks/>
            </p:cNvSpPr>
            <p:nvPr/>
          </p:nvSpPr>
          <p:spPr bwMode="auto">
            <a:xfrm>
              <a:off x="3942643" y="4541749"/>
              <a:ext cx="1968154" cy="890641"/>
            </a:xfrm>
            <a:custGeom>
              <a:avLst/>
              <a:gdLst>
                <a:gd name="T0" fmla="*/ 439 w 501"/>
                <a:gd name="T1" fmla="*/ 0 h 227"/>
                <a:gd name="T2" fmla="*/ 142 w 501"/>
                <a:gd name="T3" fmla="*/ 149 h 227"/>
                <a:gd name="T4" fmla="*/ 26 w 501"/>
                <a:gd name="T5" fmla="*/ 131 h 227"/>
                <a:gd name="T6" fmla="*/ 31 w 501"/>
                <a:gd name="T7" fmla="*/ 171 h 227"/>
                <a:gd name="T8" fmla="*/ 0 w 501"/>
                <a:gd name="T9" fmla="*/ 204 h 227"/>
                <a:gd name="T10" fmla="*/ 142 w 501"/>
                <a:gd name="T11" fmla="*/ 227 h 227"/>
                <a:gd name="T12" fmla="*/ 501 w 501"/>
                <a:gd name="T13" fmla="*/ 47 h 227"/>
                <a:gd name="T14" fmla="*/ 479 w 501"/>
                <a:gd name="T15" fmla="*/ 8 h 227"/>
                <a:gd name="T16" fmla="*/ 439 w 501"/>
                <a:gd name="T1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1" h="227">
                  <a:moveTo>
                    <a:pt x="439" y="0"/>
                  </a:moveTo>
                  <a:cubicBezTo>
                    <a:pt x="371" y="91"/>
                    <a:pt x="264" y="149"/>
                    <a:pt x="142" y="149"/>
                  </a:cubicBezTo>
                  <a:cubicBezTo>
                    <a:pt x="101" y="149"/>
                    <a:pt x="62" y="143"/>
                    <a:pt x="26" y="131"/>
                  </a:cubicBezTo>
                  <a:cubicBezTo>
                    <a:pt x="31" y="171"/>
                    <a:pt x="31" y="171"/>
                    <a:pt x="31" y="171"/>
                  </a:cubicBezTo>
                  <a:cubicBezTo>
                    <a:pt x="0" y="204"/>
                    <a:pt x="0" y="204"/>
                    <a:pt x="0" y="204"/>
                  </a:cubicBezTo>
                  <a:cubicBezTo>
                    <a:pt x="45" y="219"/>
                    <a:pt x="92" y="227"/>
                    <a:pt x="142" y="227"/>
                  </a:cubicBezTo>
                  <a:cubicBezTo>
                    <a:pt x="289" y="227"/>
                    <a:pt x="419" y="156"/>
                    <a:pt x="501" y="47"/>
                  </a:cubicBezTo>
                  <a:cubicBezTo>
                    <a:pt x="479" y="8"/>
                    <a:pt x="479" y="8"/>
                    <a:pt x="479" y="8"/>
                  </a:cubicBezTo>
                  <a:lnTo>
                    <a:pt x="439" y="0"/>
                  </a:lnTo>
                  <a:close/>
                </a:path>
              </a:pathLst>
            </a:custGeom>
            <a:solidFill>
              <a:schemeClr val="accent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90" name="Freeform 24"/>
            <p:cNvSpPr>
              <a:spLocks/>
            </p:cNvSpPr>
            <p:nvPr/>
          </p:nvSpPr>
          <p:spPr bwMode="auto">
            <a:xfrm>
              <a:off x="8136607" y="2006082"/>
              <a:ext cx="1323185" cy="1726447"/>
            </a:xfrm>
            <a:custGeom>
              <a:avLst/>
              <a:gdLst>
                <a:gd name="T0" fmla="*/ 0 w 337"/>
                <a:gd name="T1" fmla="*/ 74 h 440"/>
                <a:gd name="T2" fmla="*/ 259 w 337"/>
                <a:gd name="T3" fmla="*/ 422 h 440"/>
                <a:gd name="T4" fmla="*/ 297 w 337"/>
                <a:gd name="T5" fmla="*/ 440 h 440"/>
                <a:gd name="T6" fmla="*/ 337 w 337"/>
                <a:gd name="T7" fmla="*/ 423 h 440"/>
                <a:gd name="T8" fmla="*/ 25 w 337"/>
                <a:gd name="T9" fmla="*/ 0 h 440"/>
                <a:gd name="T10" fmla="*/ 29 w 337"/>
                <a:gd name="T11" fmla="*/ 44 h 440"/>
                <a:gd name="T12" fmla="*/ 0 w 337"/>
                <a:gd name="T13" fmla="*/ 74 h 440"/>
              </a:gdLst>
              <a:ahLst/>
              <a:cxnLst>
                <a:cxn ang="0">
                  <a:pos x="T0" y="T1"/>
                </a:cxn>
                <a:cxn ang="0">
                  <a:pos x="T2" y="T3"/>
                </a:cxn>
                <a:cxn ang="0">
                  <a:pos x="T4" y="T5"/>
                </a:cxn>
                <a:cxn ang="0">
                  <a:pos x="T6" y="T7"/>
                </a:cxn>
                <a:cxn ang="0">
                  <a:pos x="T8" y="T9"/>
                </a:cxn>
                <a:cxn ang="0">
                  <a:pos x="T10" y="T11"/>
                </a:cxn>
                <a:cxn ang="0">
                  <a:pos x="T12" y="T13"/>
                </a:cxn>
              </a:cxnLst>
              <a:rect l="0" t="0" r="r" b="b"/>
              <a:pathLst>
                <a:path w="337" h="440">
                  <a:moveTo>
                    <a:pt x="0" y="74"/>
                  </a:moveTo>
                  <a:cubicBezTo>
                    <a:pt x="149" y="121"/>
                    <a:pt x="257" y="259"/>
                    <a:pt x="259" y="422"/>
                  </a:cubicBezTo>
                  <a:cubicBezTo>
                    <a:pt x="297" y="440"/>
                    <a:pt x="297" y="440"/>
                    <a:pt x="297" y="440"/>
                  </a:cubicBezTo>
                  <a:cubicBezTo>
                    <a:pt x="337" y="423"/>
                    <a:pt x="337" y="423"/>
                    <a:pt x="337" y="423"/>
                  </a:cubicBezTo>
                  <a:cubicBezTo>
                    <a:pt x="335" y="224"/>
                    <a:pt x="205" y="57"/>
                    <a:pt x="25" y="0"/>
                  </a:cubicBezTo>
                  <a:cubicBezTo>
                    <a:pt x="29" y="44"/>
                    <a:pt x="29" y="44"/>
                    <a:pt x="29" y="44"/>
                  </a:cubicBezTo>
                  <a:lnTo>
                    <a:pt x="0" y="74"/>
                  </a:lnTo>
                  <a:close/>
                </a:path>
              </a:pathLst>
            </a:custGeom>
            <a:solidFill>
              <a:schemeClr val="tx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91" name="Freeform 25"/>
            <p:cNvSpPr>
              <a:spLocks/>
            </p:cNvSpPr>
            <p:nvPr/>
          </p:nvSpPr>
          <p:spPr bwMode="auto">
            <a:xfrm>
              <a:off x="6271515" y="1923000"/>
              <a:ext cx="1978128" cy="910580"/>
            </a:xfrm>
            <a:custGeom>
              <a:avLst/>
              <a:gdLst>
                <a:gd name="T0" fmla="*/ 65 w 504"/>
                <a:gd name="T1" fmla="*/ 232 h 232"/>
                <a:gd name="T2" fmla="*/ 365 w 504"/>
                <a:gd name="T3" fmla="*/ 78 h 232"/>
                <a:gd name="T4" fmla="*/ 475 w 504"/>
                <a:gd name="T5" fmla="*/ 95 h 232"/>
                <a:gd name="T6" fmla="*/ 504 w 504"/>
                <a:gd name="T7" fmla="*/ 65 h 232"/>
                <a:gd name="T8" fmla="*/ 500 w 504"/>
                <a:gd name="T9" fmla="*/ 21 h 232"/>
                <a:gd name="T10" fmla="*/ 365 w 504"/>
                <a:gd name="T11" fmla="*/ 0 h 232"/>
                <a:gd name="T12" fmla="*/ 0 w 504"/>
                <a:gd name="T13" fmla="*/ 189 h 232"/>
                <a:gd name="T14" fmla="*/ 45 w 504"/>
                <a:gd name="T15" fmla="*/ 197 h 232"/>
                <a:gd name="T16" fmla="*/ 65 w 504"/>
                <a:gd name="T1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232">
                  <a:moveTo>
                    <a:pt x="65" y="232"/>
                  </a:moveTo>
                  <a:cubicBezTo>
                    <a:pt x="132" y="139"/>
                    <a:pt x="241" y="78"/>
                    <a:pt x="365" y="78"/>
                  </a:cubicBezTo>
                  <a:cubicBezTo>
                    <a:pt x="403" y="78"/>
                    <a:pt x="440" y="84"/>
                    <a:pt x="475" y="95"/>
                  </a:cubicBezTo>
                  <a:cubicBezTo>
                    <a:pt x="504" y="65"/>
                    <a:pt x="504" y="65"/>
                    <a:pt x="504" y="65"/>
                  </a:cubicBezTo>
                  <a:cubicBezTo>
                    <a:pt x="500" y="21"/>
                    <a:pt x="500" y="21"/>
                    <a:pt x="500" y="21"/>
                  </a:cubicBezTo>
                  <a:cubicBezTo>
                    <a:pt x="457" y="8"/>
                    <a:pt x="412" y="0"/>
                    <a:pt x="365" y="0"/>
                  </a:cubicBezTo>
                  <a:cubicBezTo>
                    <a:pt x="215" y="0"/>
                    <a:pt x="81" y="75"/>
                    <a:pt x="0" y="189"/>
                  </a:cubicBezTo>
                  <a:cubicBezTo>
                    <a:pt x="45" y="197"/>
                    <a:pt x="45" y="197"/>
                    <a:pt x="45" y="197"/>
                  </a:cubicBezTo>
                  <a:lnTo>
                    <a:pt x="65" y="232"/>
                  </a:lnTo>
                  <a:close/>
                </a:path>
              </a:pathLst>
            </a:custGeom>
            <a:solidFill>
              <a:schemeClr val="accent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92" name="Freeform 26"/>
            <p:cNvSpPr>
              <a:spLocks/>
            </p:cNvSpPr>
            <p:nvPr/>
          </p:nvSpPr>
          <p:spPr bwMode="auto">
            <a:xfrm>
              <a:off x="8144919" y="3662740"/>
              <a:ext cx="1314873" cy="1678259"/>
            </a:xfrm>
            <a:custGeom>
              <a:avLst/>
              <a:gdLst>
                <a:gd name="T0" fmla="*/ 295 w 335"/>
                <a:gd name="T1" fmla="*/ 18 h 428"/>
                <a:gd name="T2" fmla="*/ 257 w 335"/>
                <a:gd name="T3" fmla="*/ 0 h 428"/>
                <a:gd name="T4" fmla="*/ 257 w 335"/>
                <a:gd name="T5" fmla="*/ 4 h 428"/>
                <a:gd name="T6" fmla="*/ 5 w 335"/>
                <a:gd name="T7" fmla="*/ 354 h 428"/>
                <a:gd name="T8" fmla="*/ 0 w 335"/>
                <a:gd name="T9" fmla="*/ 395 h 428"/>
                <a:gd name="T10" fmla="*/ 31 w 335"/>
                <a:gd name="T11" fmla="*/ 428 h 428"/>
                <a:gd name="T12" fmla="*/ 335 w 335"/>
                <a:gd name="T13" fmla="*/ 4 h 428"/>
                <a:gd name="T14" fmla="*/ 335 w 335"/>
                <a:gd name="T15" fmla="*/ 1 h 428"/>
                <a:gd name="T16" fmla="*/ 295 w 335"/>
                <a:gd name="T17" fmla="*/ 1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428">
                  <a:moveTo>
                    <a:pt x="295" y="18"/>
                  </a:moveTo>
                  <a:cubicBezTo>
                    <a:pt x="257" y="0"/>
                    <a:pt x="257" y="0"/>
                    <a:pt x="257" y="0"/>
                  </a:cubicBezTo>
                  <a:cubicBezTo>
                    <a:pt x="257" y="2"/>
                    <a:pt x="257" y="3"/>
                    <a:pt x="257" y="4"/>
                  </a:cubicBezTo>
                  <a:cubicBezTo>
                    <a:pt x="257" y="167"/>
                    <a:pt x="152" y="305"/>
                    <a:pt x="5" y="354"/>
                  </a:cubicBezTo>
                  <a:cubicBezTo>
                    <a:pt x="0" y="395"/>
                    <a:pt x="0" y="395"/>
                    <a:pt x="0" y="395"/>
                  </a:cubicBezTo>
                  <a:cubicBezTo>
                    <a:pt x="31" y="428"/>
                    <a:pt x="31" y="428"/>
                    <a:pt x="31" y="428"/>
                  </a:cubicBezTo>
                  <a:cubicBezTo>
                    <a:pt x="208" y="369"/>
                    <a:pt x="335" y="201"/>
                    <a:pt x="335" y="4"/>
                  </a:cubicBezTo>
                  <a:cubicBezTo>
                    <a:pt x="335" y="3"/>
                    <a:pt x="335" y="2"/>
                    <a:pt x="335" y="1"/>
                  </a:cubicBezTo>
                  <a:lnTo>
                    <a:pt x="295" y="18"/>
                  </a:lnTo>
                  <a:close/>
                </a:path>
              </a:pathLst>
            </a:custGeom>
            <a:solidFill>
              <a:schemeClr val="accent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93" name="Freeform 27"/>
            <p:cNvSpPr>
              <a:spLocks/>
            </p:cNvSpPr>
            <p:nvPr/>
          </p:nvSpPr>
          <p:spPr bwMode="auto">
            <a:xfrm>
              <a:off x="6298111" y="4541749"/>
              <a:ext cx="1968154" cy="890641"/>
            </a:xfrm>
            <a:custGeom>
              <a:avLst/>
              <a:gdLst>
                <a:gd name="T0" fmla="*/ 475 w 501"/>
                <a:gd name="T1" fmla="*/ 130 h 227"/>
                <a:gd name="T2" fmla="*/ 358 w 501"/>
                <a:gd name="T3" fmla="*/ 149 h 227"/>
                <a:gd name="T4" fmla="*/ 61 w 501"/>
                <a:gd name="T5" fmla="*/ 0 h 227"/>
                <a:gd name="T6" fmla="*/ 22 w 501"/>
                <a:gd name="T7" fmla="*/ 8 h 227"/>
                <a:gd name="T8" fmla="*/ 0 w 501"/>
                <a:gd name="T9" fmla="*/ 48 h 227"/>
                <a:gd name="T10" fmla="*/ 358 w 501"/>
                <a:gd name="T11" fmla="*/ 227 h 227"/>
                <a:gd name="T12" fmla="*/ 501 w 501"/>
                <a:gd name="T13" fmla="*/ 204 h 227"/>
                <a:gd name="T14" fmla="*/ 470 w 501"/>
                <a:gd name="T15" fmla="*/ 171 h 227"/>
                <a:gd name="T16" fmla="*/ 475 w 501"/>
                <a:gd name="T17" fmla="*/ 1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1" h="227">
                  <a:moveTo>
                    <a:pt x="475" y="130"/>
                  </a:moveTo>
                  <a:cubicBezTo>
                    <a:pt x="438" y="143"/>
                    <a:pt x="399" y="149"/>
                    <a:pt x="358" y="149"/>
                  </a:cubicBezTo>
                  <a:cubicBezTo>
                    <a:pt x="236" y="149"/>
                    <a:pt x="129" y="91"/>
                    <a:pt x="61" y="0"/>
                  </a:cubicBezTo>
                  <a:cubicBezTo>
                    <a:pt x="22" y="8"/>
                    <a:pt x="22" y="8"/>
                    <a:pt x="22" y="8"/>
                  </a:cubicBezTo>
                  <a:cubicBezTo>
                    <a:pt x="0" y="48"/>
                    <a:pt x="0" y="48"/>
                    <a:pt x="0" y="48"/>
                  </a:cubicBezTo>
                  <a:cubicBezTo>
                    <a:pt x="81" y="157"/>
                    <a:pt x="211" y="227"/>
                    <a:pt x="358" y="227"/>
                  </a:cubicBezTo>
                  <a:cubicBezTo>
                    <a:pt x="408" y="227"/>
                    <a:pt x="456" y="219"/>
                    <a:pt x="501" y="204"/>
                  </a:cubicBezTo>
                  <a:cubicBezTo>
                    <a:pt x="470" y="171"/>
                    <a:pt x="470" y="171"/>
                    <a:pt x="470" y="171"/>
                  </a:cubicBezTo>
                  <a:lnTo>
                    <a:pt x="475" y="130"/>
                  </a:lnTo>
                  <a:close/>
                </a:path>
              </a:pathLst>
            </a:custGeom>
            <a:solidFill>
              <a:schemeClr val="tx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94" name="Freeform 28"/>
            <p:cNvSpPr>
              <a:spLocks/>
            </p:cNvSpPr>
            <p:nvPr/>
          </p:nvSpPr>
          <p:spPr bwMode="auto">
            <a:xfrm>
              <a:off x="5678076" y="2665754"/>
              <a:ext cx="861068" cy="2063761"/>
            </a:xfrm>
            <a:custGeom>
              <a:avLst/>
              <a:gdLst>
                <a:gd name="T0" fmla="*/ 147 w 219"/>
                <a:gd name="T1" fmla="*/ 258 h 526"/>
                <a:gd name="T2" fmla="*/ 108 w 219"/>
                <a:gd name="T3" fmla="*/ 76 h 526"/>
                <a:gd name="T4" fmla="*/ 65 w 219"/>
                <a:gd name="T5" fmla="*/ 0 h 526"/>
                <a:gd name="T6" fmla="*/ 21 w 219"/>
                <a:gd name="T7" fmla="*/ 8 h 526"/>
                <a:gd name="T8" fmla="*/ 0 w 219"/>
                <a:gd name="T9" fmla="*/ 44 h 526"/>
                <a:gd name="T10" fmla="*/ 69 w 219"/>
                <a:gd name="T11" fmla="*/ 258 h 526"/>
                <a:gd name="T12" fmla="*/ 108 w 219"/>
                <a:gd name="T13" fmla="*/ 441 h 526"/>
                <a:gd name="T14" fmla="*/ 158 w 219"/>
                <a:gd name="T15" fmla="*/ 526 h 526"/>
                <a:gd name="T16" fmla="*/ 180 w 219"/>
                <a:gd name="T17" fmla="*/ 486 h 526"/>
                <a:gd name="T18" fmla="*/ 219 w 219"/>
                <a:gd name="T19" fmla="*/ 478 h 526"/>
                <a:gd name="T20" fmla="*/ 147 w 219"/>
                <a:gd name="T21" fmla="*/ 258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526">
                  <a:moveTo>
                    <a:pt x="147" y="258"/>
                  </a:moveTo>
                  <a:cubicBezTo>
                    <a:pt x="147" y="193"/>
                    <a:pt x="133" y="131"/>
                    <a:pt x="108" y="76"/>
                  </a:cubicBezTo>
                  <a:cubicBezTo>
                    <a:pt x="96" y="49"/>
                    <a:pt x="81" y="23"/>
                    <a:pt x="65" y="0"/>
                  </a:cubicBezTo>
                  <a:cubicBezTo>
                    <a:pt x="21" y="8"/>
                    <a:pt x="21" y="8"/>
                    <a:pt x="21" y="8"/>
                  </a:cubicBezTo>
                  <a:cubicBezTo>
                    <a:pt x="0" y="44"/>
                    <a:pt x="0" y="44"/>
                    <a:pt x="0" y="44"/>
                  </a:cubicBezTo>
                  <a:cubicBezTo>
                    <a:pt x="44" y="104"/>
                    <a:pt x="69" y="178"/>
                    <a:pt x="69" y="258"/>
                  </a:cubicBezTo>
                  <a:cubicBezTo>
                    <a:pt x="69" y="324"/>
                    <a:pt x="83" y="385"/>
                    <a:pt x="108" y="441"/>
                  </a:cubicBezTo>
                  <a:cubicBezTo>
                    <a:pt x="121" y="471"/>
                    <a:pt x="138" y="500"/>
                    <a:pt x="158" y="526"/>
                  </a:cubicBezTo>
                  <a:cubicBezTo>
                    <a:pt x="180" y="486"/>
                    <a:pt x="180" y="486"/>
                    <a:pt x="180" y="486"/>
                  </a:cubicBezTo>
                  <a:cubicBezTo>
                    <a:pt x="219" y="478"/>
                    <a:pt x="219" y="478"/>
                    <a:pt x="219" y="478"/>
                  </a:cubicBezTo>
                  <a:cubicBezTo>
                    <a:pt x="174" y="417"/>
                    <a:pt x="147" y="341"/>
                    <a:pt x="147" y="258"/>
                  </a:cubicBezTo>
                  <a:close/>
                </a:path>
              </a:pathLst>
            </a:custGeom>
            <a:solidFill>
              <a:schemeClr val="accent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95" name="Freeform 29"/>
            <p:cNvSpPr>
              <a:spLocks/>
            </p:cNvSpPr>
            <p:nvPr/>
          </p:nvSpPr>
          <p:spPr bwMode="auto">
            <a:xfrm>
              <a:off x="5666440" y="2665754"/>
              <a:ext cx="859405" cy="2060437"/>
            </a:xfrm>
            <a:custGeom>
              <a:avLst/>
              <a:gdLst>
                <a:gd name="T0" fmla="*/ 199 w 219"/>
                <a:gd name="T1" fmla="*/ 8 h 525"/>
                <a:gd name="T2" fmla="*/ 154 w 219"/>
                <a:gd name="T3" fmla="*/ 0 h 525"/>
                <a:gd name="T4" fmla="*/ 111 w 219"/>
                <a:gd name="T5" fmla="*/ 76 h 525"/>
                <a:gd name="T6" fmla="*/ 72 w 219"/>
                <a:gd name="T7" fmla="*/ 258 h 525"/>
                <a:gd name="T8" fmla="*/ 0 w 219"/>
                <a:gd name="T9" fmla="*/ 478 h 525"/>
                <a:gd name="T10" fmla="*/ 40 w 219"/>
                <a:gd name="T11" fmla="*/ 486 h 525"/>
                <a:gd name="T12" fmla="*/ 62 w 219"/>
                <a:gd name="T13" fmla="*/ 525 h 525"/>
                <a:gd name="T14" fmla="*/ 111 w 219"/>
                <a:gd name="T15" fmla="*/ 441 h 525"/>
                <a:gd name="T16" fmla="*/ 150 w 219"/>
                <a:gd name="T17" fmla="*/ 258 h 525"/>
                <a:gd name="T18" fmla="*/ 219 w 219"/>
                <a:gd name="T19" fmla="*/ 43 h 525"/>
                <a:gd name="T20" fmla="*/ 199 w 219"/>
                <a:gd name="T21" fmla="*/ 8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525">
                  <a:moveTo>
                    <a:pt x="199" y="8"/>
                  </a:moveTo>
                  <a:cubicBezTo>
                    <a:pt x="154" y="0"/>
                    <a:pt x="154" y="0"/>
                    <a:pt x="154" y="0"/>
                  </a:cubicBezTo>
                  <a:cubicBezTo>
                    <a:pt x="138" y="23"/>
                    <a:pt x="123" y="49"/>
                    <a:pt x="111" y="76"/>
                  </a:cubicBezTo>
                  <a:cubicBezTo>
                    <a:pt x="86" y="131"/>
                    <a:pt x="72" y="193"/>
                    <a:pt x="72" y="258"/>
                  </a:cubicBezTo>
                  <a:cubicBezTo>
                    <a:pt x="72" y="341"/>
                    <a:pt x="45" y="417"/>
                    <a:pt x="0" y="478"/>
                  </a:cubicBezTo>
                  <a:cubicBezTo>
                    <a:pt x="40" y="486"/>
                    <a:pt x="40" y="486"/>
                    <a:pt x="40" y="486"/>
                  </a:cubicBezTo>
                  <a:cubicBezTo>
                    <a:pt x="62" y="525"/>
                    <a:pt x="62" y="525"/>
                    <a:pt x="62" y="525"/>
                  </a:cubicBezTo>
                  <a:cubicBezTo>
                    <a:pt x="81" y="499"/>
                    <a:pt x="98" y="471"/>
                    <a:pt x="111" y="441"/>
                  </a:cubicBezTo>
                  <a:cubicBezTo>
                    <a:pt x="136" y="385"/>
                    <a:pt x="150" y="324"/>
                    <a:pt x="150" y="258"/>
                  </a:cubicBezTo>
                  <a:cubicBezTo>
                    <a:pt x="150" y="178"/>
                    <a:pt x="176" y="104"/>
                    <a:pt x="219" y="43"/>
                  </a:cubicBezTo>
                  <a:lnTo>
                    <a:pt x="199" y="8"/>
                  </a:lnTo>
                  <a:close/>
                </a:path>
              </a:pathLst>
            </a:custGeom>
            <a:solidFill>
              <a:schemeClr val="tx2"/>
            </a:solidFill>
            <a:ln w="9525">
              <a:solidFill>
                <a:schemeClr val="bg1"/>
              </a:solidFill>
              <a:miter lim="800000"/>
              <a:headEnd/>
              <a:tailEnd/>
            </a:ln>
            <a:scene3d>
              <a:camera prst="orthographicFront"/>
              <a:lightRig rig="threePt" dir="t"/>
            </a:scene3d>
            <a:sp3d>
              <a:bevelT w="0" h="0"/>
              <a:bevelB w="0" h="0"/>
              <a:extrusionClr>
                <a:schemeClr val="accent1"/>
              </a:extrusionClr>
            </a:sp3d>
          </p:spPr>
          <p:txBody>
            <a:bodyPr/>
            <a:lstStyle/>
            <a:p>
              <a:endParaRPr lang="en-GB" dirty="0"/>
            </a:p>
          </p:txBody>
        </p:sp>
        <p:sp>
          <p:nvSpPr>
            <p:cNvPr id="85" name="Oval 69"/>
            <p:cNvSpPr>
              <a:spLocks noChangeArrowheads="1"/>
            </p:cNvSpPr>
            <p:nvPr/>
          </p:nvSpPr>
          <p:spPr bwMode="auto">
            <a:xfrm>
              <a:off x="3433143" y="3183178"/>
              <a:ext cx="650873" cy="650619"/>
            </a:xfrm>
            <a:prstGeom prst="ellipse">
              <a:avLst/>
            </a:prstGeom>
            <a:gradFill flip="none" rotWithShape="1">
              <a:gsLst>
                <a:gs pos="0">
                  <a:srgbClr val="A2A9B7"/>
                </a:gs>
                <a:gs pos="100000">
                  <a:schemeClr val="accent1"/>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sp>
          <p:nvSpPr>
            <p:cNvPr id="83" name="Oval 69"/>
            <p:cNvSpPr>
              <a:spLocks noChangeArrowheads="1"/>
            </p:cNvSpPr>
            <p:nvPr/>
          </p:nvSpPr>
          <p:spPr bwMode="auto">
            <a:xfrm>
              <a:off x="4882496" y="3183178"/>
              <a:ext cx="650873" cy="650619"/>
            </a:xfrm>
            <a:prstGeom prst="ellipse">
              <a:avLst/>
            </a:prstGeom>
            <a:gradFill flip="none" rotWithShape="1">
              <a:gsLst>
                <a:gs pos="0">
                  <a:srgbClr val="A2A9B7"/>
                </a:gs>
                <a:gs pos="100000">
                  <a:schemeClr val="accent1"/>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sp>
          <p:nvSpPr>
            <p:cNvPr id="67" name="Oval 69"/>
            <p:cNvSpPr>
              <a:spLocks noChangeArrowheads="1"/>
            </p:cNvSpPr>
            <p:nvPr/>
          </p:nvSpPr>
          <p:spPr bwMode="auto">
            <a:xfrm>
              <a:off x="4160981" y="2580687"/>
              <a:ext cx="650873" cy="650619"/>
            </a:xfrm>
            <a:prstGeom prst="ellipse">
              <a:avLst/>
            </a:prstGeom>
            <a:gradFill flip="none" rotWithShape="1">
              <a:gsLst>
                <a:gs pos="0">
                  <a:srgbClr val="A2A9B7"/>
                </a:gs>
                <a:gs pos="100000">
                  <a:schemeClr val="accent1"/>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sp>
          <p:nvSpPr>
            <p:cNvPr id="65" name="Oval 69"/>
            <p:cNvSpPr>
              <a:spLocks noChangeArrowheads="1"/>
            </p:cNvSpPr>
            <p:nvPr/>
          </p:nvSpPr>
          <p:spPr bwMode="auto">
            <a:xfrm>
              <a:off x="3704097" y="4006217"/>
              <a:ext cx="650873" cy="650619"/>
            </a:xfrm>
            <a:prstGeom prst="ellipse">
              <a:avLst/>
            </a:prstGeom>
            <a:gradFill flip="none" rotWithShape="1">
              <a:gsLst>
                <a:gs pos="0">
                  <a:srgbClr val="A2A9B7"/>
                </a:gs>
                <a:gs pos="100000">
                  <a:schemeClr val="accent1"/>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sp>
          <p:nvSpPr>
            <p:cNvPr id="61" name="Oval 69"/>
            <p:cNvSpPr>
              <a:spLocks noChangeArrowheads="1"/>
            </p:cNvSpPr>
            <p:nvPr/>
          </p:nvSpPr>
          <p:spPr bwMode="auto">
            <a:xfrm>
              <a:off x="4591761" y="4006217"/>
              <a:ext cx="650873" cy="650619"/>
            </a:xfrm>
            <a:prstGeom prst="ellipse">
              <a:avLst/>
            </a:prstGeom>
            <a:gradFill flip="none" rotWithShape="1">
              <a:gsLst>
                <a:gs pos="0">
                  <a:srgbClr val="A2A9B7"/>
                </a:gs>
                <a:gs pos="100000">
                  <a:schemeClr val="accent1"/>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sp>
          <p:nvSpPr>
            <p:cNvPr id="52" name="Oval 69"/>
            <p:cNvSpPr>
              <a:spLocks noChangeArrowheads="1"/>
            </p:cNvSpPr>
            <p:nvPr/>
          </p:nvSpPr>
          <p:spPr bwMode="auto">
            <a:xfrm>
              <a:off x="6652670" y="3183178"/>
              <a:ext cx="650873" cy="650619"/>
            </a:xfrm>
            <a:prstGeom prst="ellipse">
              <a:avLst/>
            </a:prstGeom>
            <a:gradFill flip="none" rotWithShape="1">
              <a:gsLst>
                <a:gs pos="0">
                  <a:schemeClr val="accent1"/>
                </a:gs>
                <a:gs pos="100000">
                  <a:schemeClr val="accent1">
                    <a:lumMod val="75000"/>
                  </a:schemeClr>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sp>
          <p:nvSpPr>
            <p:cNvPr id="50" name="Oval 69"/>
            <p:cNvSpPr>
              <a:spLocks noChangeArrowheads="1"/>
            </p:cNvSpPr>
            <p:nvPr/>
          </p:nvSpPr>
          <p:spPr bwMode="auto">
            <a:xfrm>
              <a:off x="8102023" y="3183178"/>
              <a:ext cx="650873" cy="650619"/>
            </a:xfrm>
            <a:prstGeom prst="ellipse">
              <a:avLst/>
            </a:prstGeom>
            <a:gradFill flip="none" rotWithShape="1">
              <a:gsLst>
                <a:gs pos="0">
                  <a:schemeClr val="accent1"/>
                </a:gs>
                <a:gs pos="100000">
                  <a:schemeClr val="accent1">
                    <a:lumMod val="75000"/>
                  </a:schemeClr>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sp>
          <p:nvSpPr>
            <p:cNvPr id="48" name="Oval 69"/>
            <p:cNvSpPr>
              <a:spLocks noChangeArrowheads="1"/>
            </p:cNvSpPr>
            <p:nvPr/>
          </p:nvSpPr>
          <p:spPr bwMode="auto">
            <a:xfrm>
              <a:off x="7380508" y="2580687"/>
              <a:ext cx="650873" cy="650619"/>
            </a:xfrm>
            <a:prstGeom prst="ellipse">
              <a:avLst/>
            </a:prstGeom>
            <a:gradFill flip="none" rotWithShape="1">
              <a:gsLst>
                <a:gs pos="0">
                  <a:schemeClr val="accent1"/>
                </a:gs>
                <a:gs pos="100000">
                  <a:schemeClr val="accent1">
                    <a:lumMod val="75000"/>
                  </a:schemeClr>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sp>
          <p:nvSpPr>
            <p:cNvPr id="46" name="Oval 69"/>
            <p:cNvSpPr>
              <a:spLocks noChangeArrowheads="1"/>
            </p:cNvSpPr>
            <p:nvPr/>
          </p:nvSpPr>
          <p:spPr bwMode="auto">
            <a:xfrm>
              <a:off x="6923624" y="4006217"/>
              <a:ext cx="650873" cy="650619"/>
            </a:xfrm>
            <a:prstGeom prst="ellipse">
              <a:avLst/>
            </a:prstGeom>
            <a:gradFill flip="none" rotWithShape="1">
              <a:gsLst>
                <a:gs pos="0">
                  <a:schemeClr val="accent1"/>
                </a:gs>
                <a:gs pos="100000">
                  <a:schemeClr val="accent1">
                    <a:lumMod val="75000"/>
                  </a:schemeClr>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sp>
          <p:nvSpPr>
            <p:cNvPr id="44" name="Oval 69"/>
            <p:cNvSpPr>
              <a:spLocks noChangeArrowheads="1"/>
            </p:cNvSpPr>
            <p:nvPr/>
          </p:nvSpPr>
          <p:spPr bwMode="auto">
            <a:xfrm>
              <a:off x="7811288" y="4006217"/>
              <a:ext cx="650873" cy="650619"/>
            </a:xfrm>
            <a:prstGeom prst="ellipse">
              <a:avLst/>
            </a:prstGeom>
            <a:gradFill flip="none" rotWithShape="1">
              <a:gsLst>
                <a:gs pos="0">
                  <a:schemeClr val="accent1"/>
                </a:gs>
                <a:gs pos="100000">
                  <a:schemeClr val="accent1">
                    <a:lumMod val="75000"/>
                  </a:schemeClr>
                </a:gs>
              </a:gsLst>
              <a:path path="circle">
                <a:fillToRect l="100000" t="100000"/>
              </a:path>
              <a:tileRect r="-100000" b="-100000"/>
            </a:gradFill>
            <a:ln>
              <a:noFill/>
            </a:ln>
            <a:effectLst/>
            <a:scene3d>
              <a:camera prst="orthographicFront"/>
              <a:lightRig rig="balanced" dir="t"/>
            </a:scene3d>
            <a:sp3d>
              <a:bevelT w="0" h="0"/>
            </a:sp3d>
            <a:extLst>
              <a:ext uri="{91240B29-F687-4F45-9708-019B960494DF}">
                <a14:hiddenLine xmlns:a14="http://schemas.microsoft.com/office/drawing/2010/main" w="9525">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n-GB" altLang="de-DE" sz="4000" dirty="0">
                <a:solidFill>
                  <a:schemeClr val="tx1">
                    <a:lumMod val="65000"/>
                    <a:lumOff val="35000"/>
                  </a:schemeClr>
                </a:solidFill>
                <a:effectLst>
                  <a:innerShdw blurRad="114300">
                    <a:prstClr val="black">
                      <a:alpha val="96000"/>
                    </a:prstClr>
                  </a:innerShdw>
                </a:effectLst>
              </a:endParaRPr>
            </a:p>
          </p:txBody>
        </p:sp>
      </p:grpSp>
      <p:sp>
        <p:nvSpPr>
          <p:cNvPr id="59" name="Text Box 53" descr="© INSCALE GmbH, 26.05.2010&#10;http://www.presentationload.com/"/>
          <p:cNvSpPr txBox="1">
            <a:spLocks noChangeArrowheads="1"/>
          </p:cNvSpPr>
          <p:nvPr/>
        </p:nvSpPr>
        <p:spPr bwMode="gray">
          <a:xfrm>
            <a:off x="563529" y="1529619"/>
            <a:ext cx="2704526" cy="1164678"/>
          </a:xfrm>
          <a:prstGeom prst="rect">
            <a:avLst/>
          </a:prstGeom>
          <a:noFill/>
          <a:ln w="9525">
            <a:noFill/>
            <a:miter lim="800000"/>
            <a:headEnd/>
            <a:tailEnd/>
          </a:ln>
        </p:spPr>
        <p:txBody>
          <a:bodyPr wrap="square" lIns="0" tIns="0" rIns="0" bIns="0">
            <a:spAutoFit/>
          </a:bodyPr>
          <a:lstStyle/>
          <a:p>
            <a:pPr defTabSz="801688">
              <a:lnSpc>
                <a:spcPct val="93000"/>
              </a:lnSpc>
              <a:spcBef>
                <a:spcPct val="0"/>
              </a:spcBef>
              <a:spcAft>
                <a:spcPts val="600"/>
              </a:spcAft>
            </a:pPr>
            <a:r>
              <a:rPr lang="en-US" sz="2000" b="1" dirty="0"/>
              <a:t>Manual Fragmentation</a:t>
            </a:r>
            <a:r>
              <a:rPr lang="en-US" sz="2000" dirty="0"/>
              <a:t>:</a:t>
            </a:r>
          </a:p>
          <a:p>
            <a:pPr defTabSz="801688">
              <a:lnSpc>
                <a:spcPct val="93000"/>
              </a:lnSpc>
              <a:spcBef>
                <a:spcPct val="0"/>
              </a:spcBef>
              <a:spcAft>
                <a:spcPts val="600"/>
              </a:spcAft>
            </a:pPr>
            <a:r>
              <a:rPr lang="en-US" sz="1400" dirty="0"/>
              <a:t>Quality document tracking for India lacks a centralized system, leading to scattered records and inconsistent lifecycle monitoring.</a:t>
            </a:r>
            <a:endParaRPr lang="en-GB" sz="1400" noProof="1"/>
          </a:p>
        </p:txBody>
      </p:sp>
      <p:sp>
        <p:nvSpPr>
          <p:cNvPr id="64" name="Text Box 53" descr="© INSCALE GmbH, 26.05.2010&#10;http://www.presentationload.com/"/>
          <p:cNvSpPr txBox="1">
            <a:spLocks noChangeArrowheads="1"/>
          </p:cNvSpPr>
          <p:nvPr/>
        </p:nvSpPr>
        <p:spPr bwMode="gray">
          <a:xfrm>
            <a:off x="563529" y="4647091"/>
            <a:ext cx="2971798" cy="1164678"/>
          </a:xfrm>
          <a:prstGeom prst="rect">
            <a:avLst/>
          </a:prstGeom>
          <a:noFill/>
          <a:ln w="9525">
            <a:noFill/>
            <a:miter lim="800000"/>
            <a:headEnd/>
            <a:tailEnd/>
          </a:ln>
        </p:spPr>
        <p:txBody>
          <a:bodyPr wrap="square" lIns="0" tIns="0" rIns="0" bIns="0" anchor="b" anchorCtr="0">
            <a:spAutoFit/>
          </a:bodyPr>
          <a:lstStyle/>
          <a:p>
            <a:pPr defTabSz="801688">
              <a:lnSpc>
                <a:spcPct val="93000"/>
              </a:lnSpc>
              <a:spcBef>
                <a:spcPct val="0"/>
              </a:spcBef>
              <a:spcAft>
                <a:spcPts val="600"/>
              </a:spcAft>
            </a:pPr>
            <a:r>
              <a:rPr lang="en-US" sz="2000" b="1" dirty="0"/>
              <a:t>No User-Friendly Interface</a:t>
            </a:r>
            <a:r>
              <a:rPr lang="en-US" sz="2000" dirty="0"/>
              <a:t>:</a:t>
            </a:r>
          </a:p>
          <a:p>
            <a:pPr defTabSz="801688">
              <a:lnSpc>
                <a:spcPct val="93000"/>
              </a:lnSpc>
              <a:spcBef>
                <a:spcPct val="0"/>
              </a:spcBef>
              <a:spcAft>
                <a:spcPts val="600"/>
              </a:spcAft>
            </a:pPr>
            <a:r>
              <a:rPr lang="en-US" sz="1400" dirty="0"/>
              <a:t>Stakeholders struggle with raw data entry and retrieval due to the absence of an intuitive, guided user interface tailored to India’s operational context.</a:t>
            </a:r>
            <a:endParaRPr lang="en-GB" sz="1400" noProof="1"/>
          </a:p>
        </p:txBody>
      </p:sp>
      <p:sp>
        <p:nvSpPr>
          <p:cNvPr id="69" name="Text Box 53" descr="© INSCALE GmbH, 26.05.2010&#10;http://www.presentationload.com/"/>
          <p:cNvSpPr txBox="1">
            <a:spLocks noChangeArrowheads="1"/>
          </p:cNvSpPr>
          <p:nvPr/>
        </p:nvSpPr>
        <p:spPr bwMode="gray">
          <a:xfrm>
            <a:off x="567461" y="2972790"/>
            <a:ext cx="2462412" cy="1678259"/>
          </a:xfrm>
          <a:prstGeom prst="rect">
            <a:avLst/>
          </a:prstGeom>
          <a:noFill/>
          <a:ln w="9525">
            <a:noFill/>
            <a:miter lim="800000"/>
            <a:headEnd/>
            <a:tailEnd/>
          </a:ln>
        </p:spPr>
        <p:txBody>
          <a:bodyPr wrap="square" lIns="0" tIns="0" rIns="0" bIns="0">
            <a:noAutofit/>
          </a:bodyPr>
          <a:lstStyle/>
          <a:p>
            <a:pPr defTabSz="801688">
              <a:lnSpc>
                <a:spcPct val="93000"/>
              </a:lnSpc>
              <a:spcBef>
                <a:spcPct val="0"/>
              </a:spcBef>
              <a:spcAft>
                <a:spcPts val="600"/>
              </a:spcAft>
            </a:pPr>
            <a:r>
              <a:rPr lang="en-US" sz="2000" b="1" dirty="0"/>
              <a:t>Lifecycle Blind Spots</a:t>
            </a:r>
            <a:r>
              <a:rPr lang="en-US" sz="2000" dirty="0"/>
              <a:t>:</a:t>
            </a:r>
          </a:p>
          <a:p>
            <a:pPr defTabSz="801688">
              <a:lnSpc>
                <a:spcPct val="93000"/>
              </a:lnSpc>
              <a:spcBef>
                <a:spcPct val="0"/>
              </a:spcBef>
              <a:spcAft>
                <a:spcPts val="600"/>
              </a:spcAft>
            </a:pPr>
            <a:r>
              <a:rPr lang="en-US" sz="1400" dirty="0"/>
              <a:t>Key stages—Technical Reading, Implementation, and Effectiveness Check—are not uniformly tracked, making it difficult to validate completion or flag delays.</a:t>
            </a:r>
          </a:p>
        </p:txBody>
      </p:sp>
      <p:sp>
        <p:nvSpPr>
          <p:cNvPr id="4" name="Text Box 53" descr="© INSCALE GmbH, 26.05.2010&#10;http://www.presentationload.com/">
            <a:extLst>
              <a:ext uri="{FF2B5EF4-FFF2-40B4-BE49-F238E27FC236}">
                <a16:creationId xmlns:a16="http://schemas.microsoft.com/office/drawing/2014/main" id="{9D52A52B-3A73-7B90-1D1A-F720A93A49D2}"/>
              </a:ext>
            </a:extLst>
          </p:cNvPr>
          <p:cNvSpPr txBox="1">
            <a:spLocks noChangeArrowheads="1"/>
          </p:cNvSpPr>
          <p:nvPr/>
        </p:nvSpPr>
        <p:spPr bwMode="gray">
          <a:xfrm>
            <a:off x="8725836" y="1529619"/>
            <a:ext cx="2704526" cy="1164678"/>
          </a:xfrm>
          <a:prstGeom prst="rect">
            <a:avLst/>
          </a:prstGeom>
          <a:noFill/>
          <a:ln w="9525">
            <a:noFill/>
            <a:miter lim="800000"/>
            <a:headEnd/>
            <a:tailEnd/>
          </a:ln>
        </p:spPr>
        <p:txBody>
          <a:bodyPr wrap="square" lIns="0" tIns="0" rIns="0" bIns="0">
            <a:spAutoFit/>
          </a:bodyPr>
          <a:lstStyle/>
          <a:p>
            <a:pPr defTabSz="801688">
              <a:lnSpc>
                <a:spcPct val="93000"/>
              </a:lnSpc>
              <a:spcBef>
                <a:spcPct val="0"/>
              </a:spcBef>
              <a:spcAft>
                <a:spcPts val="600"/>
              </a:spcAft>
            </a:pPr>
            <a:r>
              <a:rPr lang="en-US" sz="2000" b="1" dirty="0"/>
              <a:t>Limited Visibility</a:t>
            </a:r>
            <a:r>
              <a:rPr lang="en-US" sz="2000" dirty="0"/>
              <a:t>:</a:t>
            </a:r>
          </a:p>
          <a:p>
            <a:pPr defTabSz="801688">
              <a:lnSpc>
                <a:spcPct val="93000"/>
              </a:lnSpc>
              <a:spcBef>
                <a:spcPct val="0"/>
              </a:spcBef>
              <a:spcAft>
                <a:spcPts val="600"/>
              </a:spcAft>
            </a:pPr>
            <a:r>
              <a:rPr lang="en-US" sz="1400" dirty="0"/>
              <a:t>Without a dashboard, there’s no real-time view of document status, KPIs, or bottlenecks—hindering proactive decision-making and accountability.</a:t>
            </a:r>
            <a:endParaRPr lang="en-GB" sz="1400" noProof="1"/>
          </a:p>
        </p:txBody>
      </p:sp>
      <p:sp>
        <p:nvSpPr>
          <p:cNvPr id="7" name="Text Box 53" descr="© INSCALE GmbH, 26.05.2010&#10;http://www.presentationload.com/">
            <a:extLst>
              <a:ext uri="{FF2B5EF4-FFF2-40B4-BE49-F238E27FC236}">
                <a16:creationId xmlns:a16="http://schemas.microsoft.com/office/drawing/2014/main" id="{B1E970D0-F0D6-9452-F25E-17AE98B8B70B}"/>
              </a:ext>
            </a:extLst>
          </p:cNvPr>
          <p:cNvSpPr txBox="1">
            <a:spLocks noChangeArrowheads="1"/>
          </p:cNvSpPr>
          <p:nvPr/>
        </p:nvSpPr>
        <p:spPr bwMode="gray">
          <a:xfrm>
            <a:off x="8725836" y="3138614"/>
            <a:ext cx="3513729" cy="964303"/>
          </a:xfrm>
          <a:prstGeom prst="rect">
            <a:avLst/>
          </a:prstGeom>
          <a:noFill/>
          <a:ln w="9525">
            <a:noFill/>
            <a:miter lim="800000"/>
            <a:headEnd/>
            <a:tailEnd/>
          </a:ln>
        </p:spPr>
        <p:txBody>
          <a:bodyPr wrap="square" lIns="0" tIns="0" rIns="0" bIns="0">
            <a:spAutoFit/>
          </a:bodyPr>
          <a:lstStyle/>
          <a:p>
            <a:pPr defTabSz="801688">
              <a:lnSpc>
                <a:spcPct val="93000"/>
              </a:lnSpc>
              <a:spcBef>
                <a:spcPct val="0"/>
              </a:spcBef>
              <a:spcAft>
                <a:spcPts val="600"/>
              </a:spcAft>
            </a:pPr>
            <a:r>
              <a:rPr lang="en-US" sz="2000" b="1" dirty="0"/>
              <a:t>No Automation for Follow-ups</a:t>
            </a:r>
            <a:r>
              <a:rPr lang="en-US" sz="2000" dirty="0"/>
              <a:t>:</a:t>
            </a:r>
          </a:p>
          <a:p>
            <a:pPr defTabSz="801688">
              <a:lnSpc>
                <a:spcPct val="93000"/>
              </a:lnSpc>
              <a:spcBef>
                <a:spcPct val="0"/>
              </a:spcBef>
              <a:spcAft>
                <a:spcPts val="600"/>
              </a:spcAft>
            </a:pPr>
            <a:r>
              <a:rPr lang="en-US" sz="1400" dirty="0"/>
              <a:t>Pending actions go unnoticed due to lack of automated alerts or mail triggers, risking compliance delays and audit failures.</a:t>
            </a:r>
            <a:endParaRPr lang="en-GB" sz="1400" noProof="1"/>
          </a:p>
        </p:txBody>
      </p:sp>
      <p:sp>
        <p:nvSpPr>
          <p:cNvPr id="8" name="Text Box 53" descr="© INSCALE GmbH, 26.05.2010&#10;http://www.presentationload.com/">
            <a:extLst>
              <a:ext uri="{FF2B5EF4-FFF2-40B4-BE49-F238E27FC236}">
                <a16:creationId xmlns:a16="http://schemas.microsoft.com/office/drawing/2014/main" id="{B192B162-CA7E-15D0-6195-BE5EC4D12DFB}"/>
              </a:ext>
            </a:extLst>
          </p:cNvPr>
          <p:cNvSpPr txBox="1">
            <a:spLocks noChangeArrowheads="1"/>
          </p:cNvSpPr>
          <p:nvPr/>
        </p:nvSpPr>
        <p:spPr bwMode="gray">
          <a:xfrm>
            <a:off x="8725836" y="4647091"/>
            <a:ext cx="3298589" cy="1164678"/>
          </a:xfrm>
          <a:prstGeom prst="rect">
            <a:avLst/>
          </a:prstGeom>
          <a:noFill/>
          <a:ln w="9525">
            <a:noFill/>
            <a:miter lim="800000"/>
            <a:headEnd/>
            <a:tailEnd/>
          </a:ln>
        </p:spPr>
        <p:txBody>
          <a:bodyPr wrap="square" lIns="0" tIns="0" rIns="0" bIns="0">
            <a:spAutoFit/>
          </a:bodyPr>
          <a:lstStyle/>
          <a:p>
            <a:pPr defTabSz="801688">
              <a:lnSpc>
                <a:spcPct val="93000"/>
              </a:lnSpc>
              <a:spcBef>
                <a:spcPct val="0"/>
              </a:spcBef>
              <a:spcAft>
                <a:spcPts val="600"/>
              </a:spcAft>
            </a:pPr>
            <a:r>
              <a:rPr lang="en-US" sz="2000" b="1" dirty="0"/>
              <a:t>Scalability &amp; Audit Gaps</a:t>
            </a:r>
            <a:r>
              <a:rPr lang="en-US" sz="2000" dirty="0"/>
              <a:t>:</a:t>
            </a:r>
          </a:p>
          <a:p>
            <a:pPr defTabSz="801688">
              <a:lnSpc>
                <a:spcPct val="93000"/>
              </a:lnSpc>
              <a:spcBef>
                <a:spcPct val="0"/>
              </a:spcBef>
              <a:spcAft>
                <a:spcPts val="600"/>
              </a:spcAft>
            </a:pPr>
            <a:r>
              <a:rPr lang="en-US" sz="1400" dirty="0"/>
              <a:t>The current setup doesn’t support future expansion or audit traceability, making it hard to maintain format integrity and historical accuracy.</a:t>
            </a:r>
            <a:endParaRPr lang="en-GB" sz="1400" noProof="1"/>
          </a:p>
        </p:txBody>
      </p:sp>
      <p:grpSp>
        <p:nvGrpSpPr>
          <p:cNvPr id="9" name="Group 8">
            <a:extLst>
              <a:ext uri="{FF2B5EF4-FFF2-40B4-BE49-F238E27FC236}">
                <a16:creationId xmlns:a16="http://schemas.microsoft.com/office/drawing/2014/main" id="{F1356532-FE10-F427-361A-075EEFED4249}"/>
              </a:ext>
            </a:extLst>
          </p:cNvPr>
          <p:cNvGrpSpPr/>
          <p:nvPr/>
        </p:nvGrpSpPr>
        <p:grpSpPr>
          <a:xfrm>
            <a:off x="8485162" y="214431"/>
            <a:ext cx="3370288" cy="532863"/>
            <a:chOff x="8351812" y="347184"/>
            <a:chExt cx="3370288" cy="532863"/>
          </a:xfrm>
        </p:grpSpPr>
        <p:pic>
          <p:nvPicPr>
            <p:cNvPr id="10" name="Graphic 9">
              <a:extLst>
                <a:ext uri="{FF2B5EF4-FFF2-40B4-BE49-F238E27FC236}">
                  <a16:creationId xmlns:a16="http://schemas.microsoft.com/office/drawing/2014/main" id="{7C0CED9C-EBC5-FDDA-BB0F-09D2ADE035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48799" y="453580"/>
              <a:ext cx="2273301" cy="426087"/>
            </a:xfrm>
            <a:prstGeom prst="rect">
              <a:avLst/>
            </a:prstGeom>
          </p:spPr>
        </p:pic>
        <p:pic>
          <p:nvPicPr>
            <p:cNvPr id="11" name="Graphic 10">
              <a:extLst>
                <a:ext uri="{FF2B5EF4-FFF2-40B4-BE49-F238E27FC236}">
                  <a16:creationId xmlns:a16="http://schemas.microsoft.com/office/drawing/2014/main" id="{1F8AB5D8-B6BE-AEC8-06BA-CA684990C6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1812" y="347184"/>
              <a:ext cx="1021843" cy="532863"/>
            </a:xfrm>
            <a:prstGeom prst="rect">
              <a:avLst/>
            </a:prstGeom>
          </p:spPr>
        </p:pic>
      </p:grpSp>
    </p:spTree>
    <p:custDataLst>
      <p:tags r:id="rId1"/>
    </p:custDataLst>
    <p:extLst>
      <p:ext uri="{BB962C8B-B14F-4D97-AF65-F5344CB8AC3E}">
        <p14:creationId xmlns:p14="http://schemas.microsoft.com/office/powerpoint/2010/main" val="3967229818"/>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D15F5-989C-97D8-0843-8D415D9322BB}"/>
              </a:ext>
            </a:extLst>
          </p:cNvPr>
          <p:cNvSpPr>
            <a:spLocks noGrp="1"/>
          </p:cNvSpPr>
          <p:nvPr>
            <p:ph type="title"/>
          </p:nvPr>
        </p:nvSpPr>
        <p:spPr/>
        <p:txBody>
          <a:bodyPr/>
          <a:lstStyle/>
          <a:p>
            <a:endParaRPr lang="en-GB"/>
          </a:p>
        </p:txBody>
      </p:sp>
      <p:pic>
        <p:nvPicPr>
          <p:cNvPr id="4" name="Picture 3">
            <a:extLst>
              <a:ext uri="{FF2B5EF4-FFF2-40B4-BE49-F238E27FC236}">
                <a16:creationId xmlns:a16="http://schemas.microsoft.com/office/drawing/2014/main" id="{82ED5747-8558-0786-1EC5-AAC9123FD6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34386"/>
            <a:ext cx="12192000" cy="4961756"/>
          </a:xfrm>
          <a:prstGeom prst="rect">
            <a:avLst/>
          </a:prstGeom>
        </p:spPr>
      </p:pic>
    </p:spTree>
    <p:extLst>
      <p:ext uri="{BB962C8B-B14F-4D97-AF65-F5344CB8AC3E}">
        <p14:creationId xmlns:p14="http://schemas.microsoft.com/office/powerpoint/2010/main" val="680311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CEC36E4-6A08-486B-BE43-BC12126FA8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3" name="Objekt 2" hidden="1">
                        <a:extLst>
                          <a:ext uri="{FF2B5EF4-FFF2-40B4-BE49-F238E27FC236}">
                            <a16:creationId xmlns:a16="http://schemas.microsoft.com/office/drawing/2014/main" id="{7CEC36E4-6A08-486B-BE43-BC12126FA89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9433912-76EB-44DE-AAFE-9467A269FFD2}"/>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40963" name="_h1"/>
          <p:cNvSpPr>
            <a:spLocks noGrp="1" noChangeArrowheads="1"/>
          </p:cNvSpPr>
          <p:nvPr>
            <p:ph type="title"/>
          </p:nvPr>
        </p:nvSpPr>
        <p:spPr>
          <a:xfrm>
            <a:off x="488947" y="347184"/>
            <a:ext cx="11224684" cy="400110"/>
          </a:xfrm>
        </p:spPr>
        <p:txBody>
          <a:bodyPr/>
          <a:lstStyle/>
          <a:p>
            <a:r>
              <a:rPr lang="en-GB" altLang="de-DE" noProof="1"/>
              <a:t>OBJECTIVES</a:t>
            </a:r>
            <a:endParaRPr lang="en-GB" noProof="1"/>
          </a:p>
        </p:txBody>
      </p:sp>
      <p:sp>
        <p:nvSpPr>
          <p:cNvPr id="18" name="Oval 17"/>
          <p:cNvSpPr>
            <a:spLocks noChangeArrowheads="1"/>
          </p:cNvSpPr>
          <p:nvPr/>
        </p:nvSpPr>
        <p:spPr bwMode="gray">
          <a:xfrm>
            <a:off x="5534909" y="3115532"/>
            <a:ext cx="1125121" cy="1120483"/>
          </a:xfrm>
          <a:prstGeom prst="ellipse">
            <a:avLst/>
          </a:prstGeom>
          <a:gradFill flip="none" rotWithShape="1">
            <a:gsLst>
              <a:gs pos="0">
                <a:schemeClr val="accent2"/>
              </a:gs>
              <a:gs pos="71000">
                <a:schemeClr val="tx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GB" altLang="de-DE" sz="2000" dirty="0">
                <a:solidFill>
                  <a:schemeClr val="bg1"/>
                </a:solidFill>
              </a:rPr>
              <a:t>Objectives</a:t>
            </a:r>
          </a:p>
        </p:txBody>
      </p:sp>
      <p:sp>
        <p:nvSpPr>
          <p:cNvPr id="19" name="Freeform 20"/>
          <p:cNvSpPr>
            <a:spLocks/>
          </p:cNvSpPr>
          <p:nvPr/>
        </p:nvSpPr>
        <p:spPr bwMode="gray">
          <a:xfrm>
            <a:off x="4760616" y="1604038"/>
            <a:ext cx="1264215" cy="1999871"/>
          </a:xfrm>
          <a:custGeom>
            <a:avLst/>
            <a:gdLst>
              <a:gd name="T0" fmla="*/ 818 w 408"/>
              <a:gd name="T1" fmla="*/ 887 h 646"/>
              <a:gd name="T2" fmla="*/ 818 w 408"/>
              <a:gd name="T3" fmla="*/ 0 h 646"/>
              <a:gd name="T4" fmla="*/ 0 w 408"/>
              <a:gd name="T5" fmla="*/ 0 h 646"/>
              <a:gd name="T6" fmla="*/ 0 w 408"/>
              <a:gd name="T7" fmla="*/ 1294 h 646"/>
              <a:gd name="T8" fmla="*/ 413 w 408"/>
              <a:gd name="T9" fmla="*/ 1294 h 646"/>
              <a:gd name="T10" fmla="*/ 818 w 408"/>
              <a:gd name="T11" fmla="*/ 887 h 64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8" h="646">
                <a:moveTo>
                  <a:pt x="408" y="443"/>
                </a:moveTo>
                <a:cubicBezTo>
                  <a:pt x="408" y="0"/>
                  <a:pt x="408" y="0"/>
                  <a:pt x="408" y="0"/>
                </a:cubicBezTo>
                <a:cubicBezTo>
                  <a:pt x="0" y="0"/>
                  <a:pt x="0" y="0"/>
                  <a:pt x="0" y="0"/>
                </a:cubicBezTo>
                <a:cubicBezTo>
                  <a:pt x="0" y="646"/>
                  <a:pt x="0" y="646"/>
                  <a:pt x="0" y="646"/>
                </a:cubicBezTo>
                <a:cubicBezTo>
                  <a:pt x="206" y="646"/>
                  <a:pt x="206" y="646"/>
                  <a:pt x="206" y="646"/>
                </a:cubicBezTo>
                <a:cubicBezTo>
                  <a:pt x="217" y="539"/>
                  <a:pt x="301" y="454"/>
                  <a:pt x="408" y="443"/>
                </a:cubicBezTo>
                <a:close/>
              </a:path>
            </a:pathLst>
          </a:custGeom>
          <a:solidFill>
            <a:schemeClr val="accent5"/>
          </a:solidFill>
          <a:ln w="9525">
            <a:solidFill>
              <a:schemeClr val="bg1">
                <a:lumMod val="65000"/>
              </a:schemeClr>
            </a:solidFill>
            <a:miter lim="800000"/>
            <a:headEnd/>
            <a:tailEnd/>
          </a:ln>
          <a:effectLst/>
        </p:spPr>
        <p:txBody>
          <a:bodyPr/>
          <a:lstStyle/>
          <a:p>
            <a:pPr algn="ctr">
              <a:lnSpc>
                <a:spcPct val="93000"/>
              </a:lnSpc>
              <a:spcAft>
                <a:spcPct val="40000"/>
              </a:spcAft>
            </a:pPr>
            <a:r>
              <a:rPr lang="en-US" sz="1400" b="1" dirty="0"/>
              <a:t>Built a centralized </a:t>
            </a:r>
            <a:r>
              <a:rPr lang="en-US" sz="1400" b="1" dirty="0" err="1"/>
              <a:t>AccessDB</a:t>
            </a:r>
            <a:r>
              <a:rPr lang="en-US" sz="1400" b="1" dirty="0"/>
              <a:t> application with VBA</a:t>
            </a:r>
            <a:endParaRPr lang="en-GB" altLang="de-DE" sz="1400" b="1" noProof="1"/>
          </a:p>
        </p:txBody>
      </p:sp>
      <p:sp>
        <p:nvSpPr>
          <p:cNvPr id="21" name="Freeform 18"/>
          <p:cNvSpPr>
            <a:spLocks/>
          </p:cNvSpPr>
          <p:nvPr/>
        </p:nvSpPr>
        <p:spPr bwMode="gray">
          <a:xfrm>
            <a:off x="6167017" y="1604038"/>
            <a:ext cx="1264215" cy="1999871"/>
          </a:xfrm>
          <a:custGeom>
            <a:avLst/>
            <a:gdLst>
              <a:gd name="T0" fmla="*/ 818 w 408"/>
              <a:gd name="T1" fmla="*/ 0 h 646"/>
              <a:gd name="T2" fmla="*/ 0 w 408"/>
              <a:gd name="T3" fmla="*/ 0 h 646"/>
              <a:gd name="T4" fmla="*/ 0 w 408"/>
              <a:gd name="T5" fmla="*/ 887 h 646"/>
              <a:gd name="T6" fmla="*/ 407 w 408"/>
              <a:gd name="T7" fmla="*/ 1294 h 646"/>
              <a:gd name="T8" fmla="*/ 818 w 408"/>
              <a:gd name="T9" fmla="*/ 1294 h 646"/>
              <a:gd name="T10" fmla="*/ 818 w 408"/>
              <a:gd name="T11" fmla="*/ 0 h 64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8" h="646">
                <a:moveTo>
                  <a:pt x="408" y="0"/>
                </a:moveTo>
                <a:cubicBezTo>
                  <a:pt x="0" y="0"/>
                  <a:pt x="0" y="0"/>
                  <a:pt x="0" y="0"/>
                </a:cubicBezTo>
                <a:cubicBezTo>
                  <a:pt x="0" y="443"/>
                  <a:pt x="0" y="443"/>
                  <a:pt x="0" y="443"/>
                </a:cubicBezTo>
                <a:cubicBezTo>
                  <a:pt x="107" y="454"/>
                  <a:pt x="193" y="539"/>
                  <a:pt x="203" y="646"/>
                </a:cubicBezTo>
                <a:cubicBezTo>
                  <a:pt x="408" y="646"/>
                  <a:pt x="408" y="646"/>
                  <a:pt x="408" y="646"/>
                </a:cubicBezTo>
                <a:lnTo>
                  <a:pt x="408" y="0"/>
                </a:lnTo>
                <a:close/>
              </a:path>
            </a:pathLst>
          </a:custGeom>
          <a:solidFill>
            <a:schemeClr val="accent5"/>
          </a:solidFill>
          <a:ln w="9525">
            <a:solidFill>
              <a:schemeClr val="bg1">
                <a:lumMod val="65000"/>
              </a:schemeClr>
            </a:solidFill>
            <a:miter lim="800000"/>
            <a:headEnd/>
            <a:tailEnd/>
          </a:ln>
          <a:effectLst/>
        </p:spPr>
        <p:txBody>
          <a:bodyPr/>
          <a:lstStyle/>
          <a:p>
            <a:pPr algn="ctr">
              <a:lnSpc>
                <a:spcPct val="93000"/>
              </a:lnSpc>
              <a:spcAft>
                <a:spcPct val="40000"/>
              </a:spcAft>
            </a:pPr>
            <a:r>
              <a:rPr lang="en-US" sz="1400" b="1" dirty="0"/>
              <a:t>Integrating predictive KPIs via </a:t>
            </a:r>
            <a:r>
              <a:rPr lang="en-US" sz="1400" b="1" dirty="0" err="1"/>
              <a:t>TabPy</a:t>
            </a:r>
            <a:r>
              <a:rPr lang="en-US" sz="1400" dirty="0"/>
              <a:t> </a:t>
            </a:r>
            <a:endParaRPr lang="en-GB" altLang="de-DE" sz="1400" noProof="1"/>
          </a:p>
        </p:txBody>
      </p:sp>
      <p:sp>
        <p:nvSpPr>
          <p:cNvPr id="23" name="Freeform 21"/>
          <p:cNvSpPr>
            <a:spLocks/>
          </p:cNvSpPr>
          <p:nvPr/>
        </p:nvSpPr>
        <p:spPr bwMode="gray">
          <a:xfrm>
            <a:off x="4760616" y="3746094"/>
            <a:ext cx="1264215" cy="1999871"/>
          </a:xfrm>
          <a:custGeom>
            <a:avLst/>
            <a:gdLst>
              <a:gd name="T0" fmla="*/ 413 w 408"/>
              <a:gd name="T1" fmla="*/ 0 h 646"/>
              <a:gd name="T2" fmla="*/ 0 w 408"/>
              <a:gd name="T3" fmla="*/ 0 h 646"/>
              <a:gd name="T4" fmla="*/ 0 w 408"/>
              <a:gd name="T5" fmla="*/ 1294 h 646"/>
              <a:gd name="T6" fmla="*/ 818 w 408"/>
              <a:gd name="T7" fmla="*/ 1294 h 646"/>
              <a:gd name="T8" fmla="*/ 818 w 408"/>
              <a:gd name="T9" fmla="*/ 407 h 646"/>
              <a:gd name="T10" fmla="*/ 413 w 408"/>
              <a:gd name="T11" fmla="*/ 0 h 64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8" h="646">
                <a:moveTo>
                  <a:pt x="206" y="0"/>
                </a:moveTo>
                <a:cubicBezTo>
                  <a:pt x="0" y="0"/>
                  <a:pt x="0" y="0"/>
                  <a:pt x="0" y="0"/>
                </a:cubicBezTo>
                <a:cubicBezTo>
                  <a:pt x="0" y="646"/>
                  <a:pt x="0" y="646"/>
                  <a:pt x="0" y="646"/>
                </a:cubicBezTo>
                <a:cubicBezTo>
                  <a:pt x="408" y="646"/>
                  <a:pt x="408" y="646"/>
                  <a:pt x="408" y="646"/>
                </a:cubicBezTo>
                <a:cubicBezTo>
                  <a:pt x="408" y="203"/>
                  <a:pt x="408" y="203"/>
                  <a:pt x="408" y="203"/>
                </a:cubicBezTo>
                <a:cubicBezTo>
                  <a:pt x="301" y="192"/>
                  <a:pt x="216" y="107"/>
                  <a:pt x="206" y="0"/>
                </a:cubicBezTo>
                <a:close/>
              </a:path>
            </a:pathLst>
          </a:custGeom>
          <a:solidFill>
            <a:schemeClr val="accent5"/>
          </a:solidFill>
          <a:ln w="9525">
            <a:solidFill>
              <a:schemeClr val="bg1">
                <a:lumMod val="65000"/>
              </a:schemeClr>
            </a:solidFill>
            <a:miter lim="800000"/>
            <a:headEnd/>
            <a:tailEnd/>
          </a:ln>
          <a:effectLst/>
        </p:spPr>
        <p:txBody>
          <a:bodyPr anchor="b" anchorCtr="0"/>
          <a:lstStyle/>
          <a:p>
            <a:pPr algn="ctr">
              <a:lnSpc>
                <a:spcPct val="93000"/>
              </a:lnSpc>
              <a:spcAft>
                <a:spcPct val="40000"/>
              </a:spcAft>
            </a:pPr>
            <a:r>
              <a:rPr lang="en-US" sz="1400" b="1" dirty="0"/>
              <a:t>Automated ETL using Tableau Prep Builder</a:t>
            </a:r>
            <a:r>
              <a:rPr lang="en-US" sz="1400" dirty="0"/>
              <a:t> </a:t>
            </a:r>
            <a:endParaRPr lang="en-GB" altLang="de-DE" sz="1400" noProof="1"/>
          </a:p>
        </p:txBody>
      </p:sp>
      <p:sp>
        <p:nvSpPr>
          <p:cNvPr id="25" name="Freeform 19"/>
          <p:cNvSpPr>
            <a:spLocks/>
          </p:cNvSpPr>
          <p:nvPr/>
        </p:nvSpPr>
        <p:spPr bwMode="gray">
          <a:xfrm>
            <a:off x="6167017" y="3746094"/>
            <a:ext cx="1264215" cy="1999871"/>
          </a:xfrm>
          <a:custGeom>
            <a:avLst/>
            <a:gdLst>
              <a:gd name="T0" fmla="*/ 0 w 408"/>
              <a:gd name="T1" fmla="*/ 407 h 646"/>
              <a:gd name="T2" fmla="*/ 0 w 408"/>
              <a:gd name="T3" fmla="*/ 1294 h 646"/>
              <a:gd name="T4" fmla="*/ 818 w 408"/>
              <a:gd name="T5" fmla="*/ 1294 h 646"/>
              <a:gd name="T6" fmla="*/ 818 w 408"/>
              <a:gd name="T7" fmla="*/ 0 h 646"/>
              <a:gd name="T8" fmla="*/ 407 w 408"/>
              <a:gd name="T9" fmla="*/ 0 h 646"/>
              <a:gd name="T10" fmla="*/ 0 w 408"/>
              <a:gd name="T11" fmla="*/ 407 h 64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8" h="646">
                <a:moveTo>
                  <a:pt x="0" y="203"/>
                </a:moveTo>
                <a:cubicBezTo>
                  <a:pt x="0" y="646"/>
                  <a:pt x="0" y="646"/>
                  <a:pt x="0" y="646"/>
                </a:cubicBezTo>
                <a:cubicBezTo>
                  <a:pt x="408" y="646"/>
                  <a:pt x="408" y="646"/>
                  <a:pt x="408" y="646"/>
                </a:cubicBezTo>
                <a:cubicBezTo>
                  <a:pt x="408" y="0"/>
                  <a:pt x="408" y="0"/>
                  <a:pt x="408" y="0"/>
                </a:cubicBezTo>
                <a:cubicBezTo>
                  <a:pt x="203" y="0"/>
                  <a:pt x="203" y="0"/>
                  <a:pt x="203" y="0"/>
                </a:cubicBezTo>
                <a:cubicBezTo>
                  <a:pt x="193" y="107"/>
                  <a:pt x="107" y="192"/>
                  <a:pt x="0" y="203"/>
                </a:cubicBezTo>
                <a:close/>
              </a:path>
            </a:pathLst>
          </a:custGeom>
          <a:solidFill>
            <a:schemeClr val="accent5"/>
          </a:solidFill>
          <a:ln w="9525">
            <a:solidFill>
              <a:schemeClr val="bg1">
                <a:lumMod val="65000"/>
              </a:schemeClr>
            </a:solidFill>
            <a:miter lim="800000"/>
            <a:headEnd/>
            <a:tailEnd/>
          </a:ln>
          <a:effectLst/>
        </p:spPr>
        <p:txBody>
          <a:bodyPr anchor="b" anchorCtr="0"/>
          <a:lstStyle/>
          <a:p>
            <a:pPr algn="ctr">
              <a:lnSpc>
                <a:spcPct val="93000"/>
              </a:lnSpc>
              <a:spcAft>
                <a:spcPct val="40000"/>
              </a:spcAft>
            </a:pPr>
            <a:r>
              <a:rPr lang="en-US" sz="1400" b="1" dirty="0"/>
              <a:t>Designing interactive dashboards in Tableau</a:t>
            </a:r>
            <a:r>
              <a:rPr lang="en-US" sz="1400" dirty="0"/>
              <a:t> </a:t>
            </a:r>
            <a:endParaRPr lang="en-GB" altLang="de-DE" sz="1400" noProof="1"/>
          </a:p>
        </p:txBody>
      </p:sp>
      <p:graphicFrame>
        <p:nvGraphicFramePr>
          <p:cNvPr id="27" name="Tabelle 26"/>
          <p:cNvGraphicFramePr>
            <a:graphicFrameLocks noGrp="1"/>
          </p:cNvGraphicFramePr>
          <p:nvPr>
            <p:extLst>
              <p:ext uri="{D42A27DB-BD31-4B8C-83A1-F6EECF244321}">
                <p14:modId xmlns:p14="http://schemas.microsoft.com/office/powerpoint/2010/main" val="3676543774"/>
              </p:ext>
            </p:extLst>
          </p:nvPr>
        </p:nvGraphicFramePr>
        <p:xfrm>
          <a:off x="469900" y="1604039"/>
          <a:ext cx="4133076" cy="1824961"/>
        </p:xfrm>
        <a:graphic>
          <a:graphicData uri="http://schemas.openxmlformats.org/drawingml/2006/table">
            <a:tbl>
              <a:tblPr firstRow="1" bandRow="1">
                <a:tableStyleId>{C083E6E3-FA7D-4D7B-A595-EF9225AFEA82}</a:tableStyleId>
              </a:tblPr>
              <a:tblGrid>
                <a:gridCol w="4133076">
                  <a:extLst>
                    <a:ext uri="{9D8B030D-6E8A-4147-A177-3AD203B41FA5}">
                      <a16:colId xmlns:a16="http://schemas.microsoft.com/office/drawing/2014/main" val="743653698"/>
                    </a:ext>
                  </a:extLst>
                </a:gridCol>
              </a:tblGrid>
              <a:tr h="675425">
                <a:tc>
                  <a:txBody>
                    <a:bodyPr/>
                    <a:lstStyle/>
                    <a:p>
                      <a:pPr marL="0" indent="0" algn="l">
                        <a:lnSpc>
                          <a:spcPct val="93000"/>
                        </a:lnSpc>
                        <a:spcBef>
                          <a:spcPts val="0"/>
                        </a:spcBef>
                        <a:spcAft>
                          <a:spcPts val="600"/>
                        </a:spcAft>
                        <a:buClr>
                          <a:srgbClr val="7F7F7F"/>
                        </a:buClr>
                        <a:buFont typeface="Wingdings" panose="05000000000000000000" pitchFamily="2" charset="2"/>
                        <a:buNone/>
                      </a:pPr>
                      <a:r>
                        <a:rPr lang="en-US" sz="1800" b="1" dirty="0"/>
                        <a:t>Built a centralized </a:t>
                      </a:r>
                      <a:r>
                        <a:rPr lang="en-US" sz="1800" b="1" dirty="0" err="1"/>
                        <a:t>AccessDB</a:t>
                      </a:r>
                      <a:r>
                        <a:rPr lang="en-US" sz="1800" b="1" dirty="0"/>
                        <a:t> application with VBA</a:t>
                      </a:r>
                      <a:r>
                        <a:rPr lang="en-US" sz="1800" dirty="0"/>
                        <a:t> </a:t>
                      </a: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576368964"/>
                  </a:ext>
                </a:extLst>
              </a:tr>
              <a:tr h="1149536">
                <a:tc>
                  <a:txBody>
                    <a:bodyPr/>
                    <a:lstStyle/>
                    <a:p>
                      <a:pPr marL="0" indent="0" algn="l">
                        <a:lnSpc>
                          <a:spcPct val="93000"/>
                        </a:lnSpc>
                        <a:spcBef>
                          <a:spcPts val="0"/>
                        </a:spcBef>
                        <a:spcAft>
                          <a:spcPts val="600"/>
                        </a:spcAft>
                        <a:buClr>
                          <a:srgbClr val="7F7F7F"/>
                        </a:buClr>
                        <a:buFont typeface="Wingdings" panose="05000000000000000000" pitchFamily="2" charset="2"/>
                        <a:buNone/>
                      </a:pPr>
                      <a:r>
                        <a:rPr lang="en-US" sz="1400" b="1" dirty="0"/>
                        <a:t>Developed a centralized </a:t>
                      </a:r>
                      <a:r>
                        <a:rPr lang="en-US" sz="1400" b="1" dirty="0" err="1"/>
                        <a:t>AccessDB</a:t>
                      </a:r>
                      <a:r>
                        <a:rPr lang="en-US" sz="1400" b="1" dirty="0"/>
                        <a:t> application with VBA</a:t>
                      </a:r>
                      <a:r>
                        <a:rPr lang="en-US" sz="1400" dirty="0"/>
                        <a:t> to manage the lifecycle of quality documents across multiple countries, including tracking stages like Technical Reading, Implementation, and Effectiveness Check.</a:t>
                      </a:r>
                      <a:endParaRPr lang="en-GB" sz="1400" b="0" dirty="0">
                        <a:solidFill>
                          <a:srgbClr val="000000"/>
                        </a:solidFill>
                        <a:latin typeface="+mn-lt"/>
                        <a:sym typeface="BMW Group Condensed" panose="020B0606020202020204" pitchFamily="34" charset="0"/>
                      </a:endParaRPr>
                    </a:p>
                  </a:txBody>
                  <a:tcPr marL="72009" marR="72009" marT="108000"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462140247"/>
                  </a:ext>
                </a:extLst>
              </a:tr>
            </a:tbl>
          </a:graphicData>
        </a:graphic>
      </p:graphicFrame>
      <p:graphicFrame>
        <p:nvGraphicFramePr>
          <p:cNvPr id="29" name="Tabelle 28"/>
          <p:cNvGraphicFramePr>
            <a:graphicFrameLocks noGrp="1"/>
          </p:cNvGraphicFramePr>
          <p:nvPr>
            <p:extLst>
              <p:ext uri="{D42A27DB-BD31-4B8C-83A1-F6EECF244321}">
                <p14:modId xmlns:p14="http://schemas.microsoft.com/office/powerpoint/2010/main" val="35490452"/>
              </p:ext>
            </p:extLst>
          </p:nvPr>
        </p:nvGraphicFramePr>
        <p:xfrm>
          <a:off x="482601" y="3746094"/>
          <a:ext cx="4120374" cy="1671497"/>
        </p:xfrm>
        <a:graphic>
          <a:graphicData uri="http://schemas.openxmlformats.org/drawingml/2006/table">
            <a:tbl>
              <a:tblPr firstRow="1" bandRow="1">
                <a:tableStyleId>{C083E6E3-FA7D-4D7B-A595-EF9225AFEA82}</a:tableStyleId>
              </a:tblPr>
              <a:tblGrid>
                <a:gridCol w="4120374">
                  <a:extLst>
                    <a:ext uri="{9D8B030D-6E8A-4147-A177-3AD203B41FA5}">
                      <a16:colId xmlns:a16="http://schemas.microsoft.com/office/drawing/2014/main" val="743653698"/>
                    </a:ext>
                  </a:extLst>
                </a:gridCol>
              </a:tblGrid>
              <a:tr h="370840">
                <a:tc>
                  <a:txBody>
                    <a:bodyPr/>
                    <a:lstStyle/>
                    <a:p>
                      <a:pPr algn="l"/>
                      <a:r>
                        <a:rPr lang="en-US" dirty="0"/>
                        <a:t>Automated ETL using Tableau Prep Builder</a:t>
                      </a:r>
                      <a:endParaRPr lang="en-GB" sz="1800" b="0" dirty="0">
                        <a:solidFill>
                          <a:srgbClr val="000000"/>
                        </a:solidFill>
                        <a:latin typeface="+mn-lt"/>
                        <a:sym typeface="BMW Group Condensed" panose="020B0606020202020204" pitchFamily="34" charset="0"/>
                      </a:endParaRP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576368964"/>
                  </a:ext>
                </a:extLst>
              </a:tr>
              <a:tr h="370840">
                <a:tc>
                  <a:txBody>
                    <a:bodyPr/>
                    <a:lstStyle/>
                    <a:p>
                      <a:pPr marL="0" indent="0" algn="l">
                        <a:lnSpc>
                          <a:spcPct val="93000"/>
                        </a:lnSpc>
                        <a:spcBef>
                          <a:spcPts val="0"/>
                        </a:spcBef>
                        <a:spcAft>
                          <a:spcPts val="600"/>
                        </a:spcAft>
                        <a:buClr>
                          <a:srgbClr val="7F7F7F"/>
                        </a:buClr>
                        <a:buFont typeface="Wingdings" panose="05000000000000000000" pitchFamily="2" charset="2"/>
                        <a:buNone/>
                      </a:pPr>
                      <a:r>
                        <a:rPr lang="en-US" sz="1600" dirty="0"/>
                        <a:t>I am automating the ETL process using Tableau Prep Builder to combine and clean multi-country data into a unified format for dashboard visualization.</a:t>
                      </a:r>
                      <a:endParaRPr lang="en-GB" sz="1600" b="0" dirty="0">
                        <a:solidFill>
                          <a:srgbClr val="000000"/>
                        </a:solidFill>
                        <a:latin typeface="+mn-lt"/>
                        <a:sym typeface="BMW Group Condensed" panose="020B0606020202020204" pitchFamily="34" charset="0"/>
                      </a:endParaRPr>
                    </a:p>
                  </a:txBody>
                  <a:tcPr marL="72009" marR="72009" marT="108000"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462140247"/>
                  </a:ext>
                </a:extLst>
              </a:tr>
            </a:tbl>
          </a:graphicData>
        </a:graphic>
      </p:graphicFrame>
      <p:graphicFrame>
        <p:nvGraphicFramePr>
          <p:cNvPr id="31" name="Tabelle 30"/>
          <p:cNvGraphicFramePr>
            <a:graphicFrameLocks noGrp="1"/>
          </p:cNvGraphicFramePr>
          <p:nvPr>
            <p:extLst>
              <p:ext uri="{D42A27DB-BD31-4B8C-83A1-F6EECF244321}">
                <p14:modId xmlns:p14="http://schemas.microsoft.com/office/powerpoint/2010/main" val="510815971"/>
              </p:ext>
            </p:extLst>
          </p:nvPr>
        </p:nvGraphicFramePr>
        <p:xfrm>
          <a:off x="7601725" y="1604038"/>
          <a:ext cx="4276847" cy="1421815"/>
        </p:xfrm>
        <a:graphic>
          <a:graphicData uri="http://schemas.openxmlformats.org/drawingml/2006/table">
            <a:tbl>
              <a:tblPr firstRow="1" bandRow="1">
                <a:tableStyleId>{C083E6E3-FA7D-4D7B-A595-EF9225AFEA82}</a:tableStyleId>
              </a:tblPr>
              <a:tblGrid>
                <a:gridCol w="4276847">
                  <a:extLst>
                    <a:ext uri="{9D8B030D-6E8A-4147-A177-3AD203B41FA5}">
                      <a16:colId xmlns:a16="http://schemas.microsoft.com/office/drawing/2014/main" val="743653698"/>
                    </a:ext>
                  </a:extLst>
                </a:gridCol>
              </a:tblGrid>
              <a:tr h="370840">
                <a:tc>
                  <a:txBody>
                    <a:bodyPr/>
                    <a:lstStyle/>
                    <a:p>
                      <a:pPr algn="l"/>
                      <a:r>
                        <a:rPr lang="en-US" dirty="0"/>
                        <a:t>Integrating predictive KPIs via </a:t>
                      </a:r>
                      <a:r>
                        <a:rPr lang="en-US" dirty="0" err="1"/>
                        <a:t>TabPy</a:t>
                      </a:r>
                      <a:endParaRPr lang="en-GB" sz="1800" b="0" dirty="0">
                        <a:solidFill>
                          <a:srgbClr val="000000"/>
                        </a:solidFill>
                        <a:latin typeface="+mn-lt"/>
                        <a:sym typeface="BMW Group Condensed" panose="020B0606020202020204" pitchFamily="34" charset="0"/>
                      </a:endParaRP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576368964"/>
                  </a:ext>
                </a:extLst>
              </a:tr>
              <a:tr h="370840">
                <a:tc>
                  <a:txBody>
                    <a:bodyPr/>
                    <a:lstStyle/>
                    <a:p>
                      <a:pPr marL="0" indent="0" algn="l">
                        <a:lnSpc>
                          <a:spcPct val="93000"/>
                        </a:lnSpc>
                        <a:spcBef>
                          <a:spcPts val="0"/>
                        </a:spcBef>
                        <a:spcAft>
                          <a:spcPts val="600"/>
                        </a:spcAft>
                        <a:buClr>
                          <a:srgbClr val="7F7F7F"/>
                        </a:buClr>
                        <a:buFont typeface="Wingdings" panose="05000000000000000000" pitchFamily="2" charset="2"/>
                        <a:buNone/>
                      </a:pPr>
                      <a:r>
                        <a:rPr lang="en-US" sz="1600" dirty="0"/>
                        <a:t>I am integrating predictive KPIs using </a:t>
                      </a:r>
                      <a:r>
                        <a:rPr lang="en-US" sz="1600" dirty="0" err="1"/>
                        <a:t>TabPy</a:t>
                      </a:r>
                      <a:r>
                        <a:rPr lang="en-US" sz="1600" dirty="0"/>
                        <a:t> to calculate delay risks and effectiveness scores, enhancing decision-making and compliance monitoring.</a:t>
                      </a:r>
                      <a:endParaRPr lang="en-GB" sz="1600" b="0" dirty="0">
                        <a:solidFill>
                          <a:srgbClr val="000000"/>
                        </a:solidFill>
                        <a:latin typeface="+mn-lt"/>
                        <a:sym typeface="BMW Group Condensed" panose="020B0606020202020204" pitchFamily="34" charset="0"/>
                      </a:endParaRPr>
                    </a:p>
                  </a:txBody>
                  <a:tcPr marL="72009" marR="72009" marT="108000"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462140247"/>
                  </a:ext>
                </a:extLst>
              </a:tr>
            </a:tbl>
          </a:graphicData>
        </a:graphic>
      </p:graphicFrame>
      <p:graphicFrame>
        <p:nvGraphicFramePr>
          <p:cNvPr id="34" name="Tabelle 33"/>
          <p:cNvGraphicFramePr>
            <a:graphicFrameLocks noGrp="1"/>
          </p:cNvGraphicFramePr>
          <p:nvPr>
            <p:extLst>
              <p:ext uri="{D42A27DB-BD31-4B8C-83A1-F6EECF244321}">
                <p14:modId xmlns:p14="http://schemas.microsoft.com/office/powerpoint/2010/main" val="3235294969"/>
              </p:ext>
            </p:extLst>
          </p:nvPr>
        </p:nvGraphicFramePr>
        <p:xfrm>
          <a:off x="7601726" y="3746094"/>
          <a:ext cx="4276848" cy="1671497"/>
        </p:xfrm>
        <a:graphic>
          <a:graphicData uri="http://schemas.openxmlformats.org/drawingml/2006/table">
            <a:tbl>
              <a:tblPr firstRow="1" bandRow="1">
                <a:tableStyleId>{C083E6E3-FA7D-4D7B-A595-EF9225AFEA82}</a:tableStyleId>
              </a:tblPr>
              <a:tblGrid>
                <a:gridCol w="4276848">
                  <a:extLst>
                    <a:ext uri="{9D8B030D-6E8A-4147-A177-3AD203B41FA5}">
                      <a16:colId xmlns:a16="http://schemas.microsoft.com/office/drawing/2014/main" val="743653698"/>
                    </a:ext>
                  </a:extLst>
                </a:gridCol>
              </a:tblGrid>
              <a:tr h="370840">
                <a:tc>
                  <a:txBody>
                    <a:bodyPr/>
                    <a:lstStyle/>
                    <a:p>
                      <a:pPr algn="l"/>
                      <a:r>
                        <a:rPr lang="en-US" dirty="0"/>
                        <a:t>Designing interactive dashboards in Tableau</a:t>
                      </a:r>
                      <a:endParaRPr lang="en-GB" sz="1800" b="0" dirty="0">
                        <a:solidFill>
                          <a:srgbClr val="000000"/>
                        </a:solidFill>
                        <a:latin typeface="+mn-lt"/>
                        <a:sym typeface="BMW Group Condensed" panose="020B0606020202020204" pitchFamily="34" charset="0"/>
                      </a:endParaRPr>
                    </a:p>
                  </a:txBody>
                  <a:tcPr marL="72009" marR="72009" marT="35941" marB="359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extLst>
                  <a:ext uri="{0D108BD9-81ED-4DB2-BD59-A6C34878D82A}">
                    <a16:rowId xmlns:a16="http://schemas.microsoft.com/office/drawing/2014/main" val="2576368964"/>
                  </a:ext>
                </a:extLst>
              </a:tr>
              <a:tr h="370840">
                <a:tc>
                  <a:txBody>
                    <a:bodyPr/>
                    <a:lstStyle/>
                    <a:p>
                      <a:pPr marL="0" indent="0" algn="l">
                        <a:lnSpc>
                          <a:spcPct val="93000"/>
                        </a:lnSpc>
                        <a:spcBef>
                          <a:spcPts val="0"/>
                        </a:spcBef>
                        <a:spcAft>
                          <a:spcPts val="600"/>
                        </a:spcAft>
                        <a:buClr>
                          <a:srgbClr val="7F7F7F"/>
                        </a:buClr>
                        <a:buFont typeface="Wingdings" panose="05000000000000000000" pitchFamily="2" charset="2"/>
                        <a:buNone/>
                      </a:pPr>
                      <a:r>
                        <a:rPr lang="en-US" sz="1600" dirty="0"/>
                        <a:t>I am designing interactive dashboards in Tableau to visualize document status, country-wise progress, and trigger mail alerts for pending actions, with audit trail tracking for traceability.</a:t>
                      </a:r>
                      <a:endParaRPr lang="en-GB" sz="1600" b="0" dirty="0">
                        <a:solidFill>
                          <a:srgbClr val="000000"/>
                        </a:solidFill>
                        <a:latin typeface="+mn-lt"/>
                        <a:sym typeface="BMW Group Condensed" panose="020B0606020202020204" pitchFamily="34" charset="0"/>
                      </a:endParaRPr>
                    </a:p>
                  </a:txBody>
                  <a:tcPr marL="72009" marR="72009" marT="108000" marB="35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462140247"/>
                  </a:ext>
                </a:extLst>
              </a:tr>
            </a:tbl>
          </a:graphicData>
        </a:graphic>
      </p:graphicFrame>
      <p:grpSp>
        <p:nvGrpSpPr>
          <p:cNvPr id="4" name="Group 3">
            <a:extLst>
              <a:ext uri="{FF2B5EF4-FFF2-40B4-BE49-F238E27FC236}">
                <a16:creationId xmlns:a16="http://schemas.microsoft.com/office/drawing/2014/main" id="{5A4D1585-70EE-7947-74A0-CB71702B0FA8}"/>
              </a:ext>
            </a:extLst>
          </p:cNvPr>
          <p:cNvGrpSpPr/>
          <p:nvPr/>
        </p:nvGrpSpPr>
        <p:grpSpPr>
          <a:xfrm>
            <a:off x="8485162" y="214431"/>
            <a:ext cx="3370288" cy="532863"/>
            <a:chOff x="8351812" y="347184"/>
            <a:chExt cx="3370288" cy="532863"/>
          </a:xfrm>
        </p:grpSpPr>
        <p:pic>
          <p:nvPicPr>
            <p:cNvPr id="5" name="Graphic 4">
              <a:extLst>
                <a:ext uri="{FF2B5EF4-FFF2-40B4-BE49-F238E27FC236}">
                  <a16:creationId xmlns:a16="http://schemas.microsoft.com/office/drawing/2014/main" id="{E04CB301-DA0B-1256-C3EF-AB119401E2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48799" y="453580"/>
              <a:ext cx="2273301" cy="426087"/>
            </a:xfrm>
            <a:prstGeom prst="rect">
              <a:avLst/>
            </a:prstGeom>
          </p:spPr>
        </p:pic>
        <p:pic>
          <p:nvPicPr>
            <p:cNvPr id="6" name="Graphic 5">
              <a:extLst>
                <a:ext uri="{FF2B5EF4-FFF2-40B4-BE49-F238E27FC236}">
                  <a16:creationId xmlns:a16="http://schemas.microsoft.com/office/drawing/2014/main" id="{238E2F5F-FB96-C9EF-7347-07CE9DC7D64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1812" y="347184"/>
              <a:ext cx="1021843" cy="532863"/>
            </a:xfrm>
            <a:prstGeom prst="rect">
              <a:avLst/>
            </a:prstGeom>
          </p:spPr>
        </p:pic>
      </p:grpSp>
    </p:spTree>
    <p:custDataLst>
      <p:tags r:id="rId1"/>
    </p:custDataLst>
    <p:extLst>
      <p:ext uri="{BB962C8B-B14F-4D97-AF65-F5344CB8AC3E}">
        <p14:creationId xmlns:p14="http://schemas.microsoft.com/office/powerpoint/2010/main" val="2110308746"/>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32" name="Objekt 3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6DC363A-E3BE-4AE2-809F-8D805B8BF6A7}"/>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GB" sz="2600" b="1" dirty="0">
              <a:solidFill>
                <a:schemeClr val="tx1"/>
              </a:solidFill>
              <a:latin typeface="BMWGroupTN Condensed" pitchFamily="50" charset="0"/>
              <a:ea typeface="+mj-ea"/>
              <a:cs typeface="+mj-cs"/>
              <a:sym typeface="BMW Group Condensed" panose="020B0606020202020204" pitchFamily="34" charset="0"/>
            </a:endParaRPr>
          </a:p>
        </p:txBody>
      </p:sp>
      <p:sp>
        <p:nvSpPr>
          <p:cNvPr id="2" name="Titel 1"/>
          <p:cNvSpPr>
            <a:spLocks noGrp="1"/>
          </p:cNvSpPr>
          <p:nvPr>
            <p:ph type="title"/>
          </p:nvPr>
        </p:nvSpPr>
        <p:spPr>
          <a:xfrm>
            <a:off x="488950" y="347663"/>
            <a:ext cx="11225213" cy="400110"/>
          </a:xfrm>
        </p:spPr>
        <p:txBody>
          <a:bodyPr vert="horz"/>
          <a:lstStyle/>
          <a:p>
            <a:r>
              <a:rPr lang="en-GB" dirty="0"/>
              <a:t>Tools and technologies</a:t>
            </a:r>
          </a:p>
        </p:txBody>
      </p:sp>
      <p:sp>
        <p:nvSpPr>
          <p:cNvPr id="17" name="Sechseck 16"/>
          <p:cNvSpPr/>
          <p:nvPr/>
        </p:nvSpPr>
        <p:spPr>
          <a:xfrm>
            <a:off x="3880251" y="1663073"/>
            <a:ext cx="1707754" cy="1478961"/>
          </a:xfrm>
          <a:prstGeom prst="hexagon">
            <a:avLst>
              <a:gd name="adj" fmla="val 28608"/>
              <a:gd name="vf" fmla="val 115470"/>
            </a:avLst>
          </a:prstGeom>
          <a:solidFill>
            <a:schemeClr val="tx2"/>
          </a:solidFill>
          <a:ln w="19050"/>
        </p:spPr>
        <p:style>
          <a:lnRef idx="2">
            <a:schemeClr val="lt1">
              <a:hueOff val="0"/>
              <a:satOff val="0"/>
              <a:lumOff val="0"/>
              <a:alphaOff val="0"/>
            </a:schemeClr>
          </a:lnRef>
          <a:fillRef idx="1">
            <a:schemeClr val="accent2">
              <a:hueOff val="30599"/>
              <a:satOff val="620"/>
              <a:lumOff val="8628"/>
              <a:alphaOff val="0"/>
            </a:schemeClr>
          </a:fillRef>
          <a:effectRef idx="0">
            <a:schemeClr val="accent2">
              <a:hueOff val="30599"/>
              <a:satOff val="620"/>
              <a:lumOff val="8628"/>
              <a:alphaOff val="0"/>
            </a:schemeClr>
          </a:effectRef>
          <a:fontRef idx="minor">
            <a:schemeClr val="lt1"/>
          </a:fontRef>
        </p:style>
        <p:txBody>
          <a:bodyPr spcFirstLastPara="0" vert="horz" wrap="square" lIns="1175037" tIns="40640" rIns="1175039" bIns="40640" numCol="1" spcCol="1270" anchor="ctr" anchorCtr="0">
            <a:noAutofit/>
          </a:bodyPr>
          <a:lstStyle/>
          <a:p>
            <a:pPr algn="ctr" defTabSz="1422400">
              <a:lnSpc>
                <a:spcPct val="90000"/>
              </a:lnSpc>
              <a:spcBef>
                <a:spcPct val="0"/>
              </a:spcBef>
              <a:spcAft>
                <a:spcPct val="35000"/>
              </a:spcAft>
            </a:pPr>
            <a:endParaRPr lang="en-GB" sz="3200" dirty="0" err="1">
              <a:latin typeface="Arial" panose="020B0604020202020204" pitchFamily="34" charset="0"/>
            </a:endParaRPr>
          </a:p>
        </p:txBody>
      </p:sp>
      <p:sp>
        <p:nvSpPr>
          <p:cNvPr id="20" name="Sechseck 19"/>
          <p:cNvSpPr/>
          <p:nvPr/>
        </p:nvSpPr>
        <p:spPr>
          <a:xfrm>
            <a:off x="3880251" y="3226161"/>
            <a:ext cx="1707754" cy="1478961"/>
          </a:xfrm>
          <a:prstGeom prst="hexagon">
            <a:avLst>
              <a:gd name="adj" fmla="val 28608"/>
              <a:gd name="vf" fmla="val 115470"/>
            </a:avLst>
          </a:prstGeom>
          <a:solidFill>
            <a:schemeClr val="accent1"/>
          </a:solidFill>
          <a:ln w="19050"/>
        </p:spPr>
        <p:style>
          <a:lnRef idx="2">
            <a:schemeClr val="lt1">
              <a:hueOff val="0"/>
              <a:satOff val="0"/>
              <a:lumOff val="0"/>
              <a:alphaOff val="0"/>
            </a:schemeClr>
          </a:lnRef>
          <a:fillRef idx="1">
            <a:schemeClr val="accent2">
              <a:hueOff val="22949"/>
              <a:satOff val="465"/>
              <a:lumOff val="6471"/>
              <a:alphaOff val="0"/>
            </a:schemeClr>
          </a:fillRef>
          <a:effectRef idx="0">
            <a:schemeClr val="accent2">
              <a:hueOff val="22949"/>
              <a:satOff val="465"/>
              <a:lumOff val="6471"/>
              <a:alphaOff val="0"/>
            </a:schemeClr>
          </a:effectRef>
          <a:fontRef idx="minor">
            <a:schemeClr val="lt1"/>
          </a:fontRef>
        </p:style>
        <p:txBody>
          <a:bodyPr spcFirstLastPara="0" vert="horz" wrap="square" lIns="948158" tIns="40640" rIns="948158" bIns="40640" numCol="1" spcCol="1270" anchor="ctr" anchorCtr="0">
            <a:noAutofit/>
          </a:bodyPr>
          <a:lstStyle/>
          <a:p>
            <a:pPr algn="ctr" defTabSz="1422400">
              <a:lnSpc>
                <a:spcPct val="90000"/>
              </a:lnSpc>
              <a:spcBef>
                <a:spcPct val="0"/>
              </a:spcBef>
              <a:spcAft>
                <a:spcPct val="35000"/>
              </a:spcAft>
            </a:pPr>
            <a:endParaRPr lang="en-GB" sz="3200" dirty="0" err="1">
              <a:latin typeface="Arial" panose="020B0604020202020204" pitchFamily="34" charset="0"/>
            </a:endParaRPr>
          </a:p>
        </p:txBody>
      </p:sp>
      <p:sp>
        <p:nvSpPr>
          <p:cNvPr id="21" name="Sechseck 20"/>
          <p:cNvSpPr/>
          <p:nvPr/>
        </p:nvSpPr>
        <p:spPr>
          <a:xfrm>
            <a:off x="5251851" y="2441465"/>
            <a:ext cx="1707754" cy="1478961"/>
          </a:xfrm>
          <a:prstGeom prst="hexagon">
            <a:avLst>
              <a:gd name="adj" fmla="val 28608"/>
              <a:gd name="vf" fmla="val 115470"/>
            </a:avLst>
          </a:prstGeom>
          <a:solidFill>
            <a:schemeClr val="accent3"/>
          </a:solidFill>
          <a:ln w="19050"/>
        </p:spPr>
        <p:style>
          <a:lnRef idx="2">
            <a:schemeClr val="lt1">
              <a:hueOff val="0"/>
              <a:satOff val="0"/>
              <a:lumOff val="0"/>
              <a:alphaOff val="0"/>
            </a:schemeClr>
          </a:lnRef>
          <a:fillRef idx="1">
            <a:schemeClr val="accent2">
              <a:hueOff val="7650"/>
              <a:satOff val="155"/>
              <a:lumOff val="2157"/>
              <a:alphaOff val="0"/>
            </a:schemeClr>
          </a:fillRef>
          <a:effectRef idx="0">
            <a:schemeClr val="accent2">
              <a:hueOff val="7650"/>
              <a:satOff val="155"/>
              <a:lumOff val="2157"/>
              <a:alphaOff val="0"/>
            </a:schemeClr>
          </a:effectRef>
          <a:fontRef idx="minor">
            <a:schemeClr val="lt1"/>
          </a:fontRef>
        </p:style>
        <p:txBody>
          <a:bodyPr spcFirstLastPara="0" vert="horz" wrap="square" lIns="494399" tIns="40640" rIns="494399" bIns="40640" numCol="1" spcCol="1270" anchor="ctr" anchorCtr="0">
            <a:noAutofit/>
          </a:bodyPr>
          <a:lstStyle/>
          <a:p>
            <a:pPr algn="ctr" defTabSz="1422400">
              <a:lnSpc>
                <a:spcPct val="90000"/>
              </a:lnSpc>
              <a:spcBef>
                <a:spcPct val="0"/>
              </a:spcBef>
              <a:spcAft>
                <a:spcPct val="35000"/>
              </a:spcAft>
            </a:pPr>
            <a:endParaRPr lang="en-GB" sz="3200" dirty="0" err="1">
              <a:latin typeface="Arial" panose="020B0604020202020204" pitchFamily="34" charset="0"/>
            </a:endParaRPr>
          </a:p>
        </p:txBody>
      </p:sp>
      <p:sp>
        <p:nvSpPr>
          <p:cNvPr id="22" name="Sechseck 21"/>
          <p:cNvSpPr/>
          <p:nvPr/>
        </p:nvSpPr>
        <p:spPr>
          <a:xfrm>
            <a:off x="5251851" y="4004553"/>
            <a:ext cx="1707754" cy="1478961"/>
          </a:xfrm>
          <a:prstGeom prst="hexagon">
            <a:avLst>
              <a:gd name="adj" fmla="val 28608"/>
              <a:gd name="vf" fmla="val 115470"/>
            </a:avLst>
          </a:prstGeom>
          <a:solidFill>
            <a:schemeClr val="accent2"/>
          </a:solidFill>
          <a:ln w="19050"/>
        </p:spPr>
        <p:style>
          <a:lnRef idx="2">
            <a:schemeClr val="lt1">
              <a:hueOff val="0"/>
              <a:satOff val="0"/>
              <a:lumOff val="0"/>
              <a:alphaOff val="0"/>
            </a:schemeClr>
          </a:lnRef>
          <a:fillRef idx="1">
            <a:schemeClr val="accent2">
              <a:hueOff val="15299"/>
              <a:satOff val="310"/>
              <a:lumOff val="4314"/>
              <a:alphaOff val="0"/>
            </a:schemeClr>
          </a:fillRef>
          <a:effectRef idx="0">
            <a:schemeClr val="accent2">
              <a:hueOff val="15299"/>
              <a:satOff val="310"/>
              <a:lumOff val="4314"/>
              <a:alphaOff val="0"/>
            </a:schemeClr>
          </a:effectRef>
          <a:fontRef idx="minor">
            <a:schemeClr val="lt1"/>
          </a:fontRef>
        </p:style>
        <p:txBody>
          <a:bodyPr spcFirstLastPara="0" vert="horz" wrap="square" lIns="721278" tIns="40640" rIns="721279" bIns="40640" numCol="1" spcCol="1270" anchor="ctr" anchorCtr="0">
            <a:noAutofit/>
          </a:bodyPr>
          <a:lstStyle/>
          <a:p>
            <a:pPr algn="ctr" defTabSz="1422400">
              <a:lnSpc>
                <a:spcPct val="90000"/>
              </a:lnSpc>
              <a:spcBef>
                <a:spcPct val="0"/>
              </a:spcBef>
              <a:spcAft>
                <a:spcPct val="35000"/>
              </a:spcAft>
            </a:pPr>
            <a:endParaRPr lang="en-GB" sz="3200" dirty="0" err="1">
              <a:latin typeface="Arial" panose="020B0604020202020204" pitchFamily="34" charset="0"/>
            </a:endParaRPr>
          </a:p>
        </p:txBody>
      </p:sp>
      <p:sp>
        <p:nvSpPr>
          <p:cNvPr id="23" name="Sechseck 22"/>
          <p:cNvSpPr/>
          <p:nvPr/>
        </p:nvSpPr>
        <p:spPr>
          <a:xfrm>
            <a:off x="5251850" y="878377"/>
            <a:ext cx="1707754" cy="1478961"/>
          </a:xfrm>
          <a:prstGeom prst="hexagon">
            <a:avLst>
              <a:gd name="adj" fmla="val 28608"/>
              <a:gd name="vf" fmla="val 115470"/>
            </a:avLst>
          </a:prstGeom>
          <a:solidFill>
            <a:schemeClr val="accent4"/>
          </a:solidFill>
          <a:ln w="19050"/>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0640" tIns="40640" rIns="40640" bIns="40640" numCol="1" spcCol="1270" anchor="ctr" anchorCtr="0">
            <a:noAutofit/>
          </a:bodyPr>
          <a:lstStyle/>
          <a:p>
            <a:pPr algn="ctr" defTabSz="1422400">
              <a:lnSpc>
                <a:spcPct val="90000"/>
              </a:lnSpc>
              <a:spcBef>
                <a:spcPct val="0"/>
              </a:spcBef>
              <a:spcAft>
                <a:spcPct val="35000"/>
              </a:spcAft>
            </a:pPr>
            <a:endParaRPr lang="en-GB" sz="3200" dirty="0" err="1">
              <a:latin typeface="Arial" panose="020B0604020202020204" pitchFamily="34" charset="0"/>
            </a:endParaRPr>
          </a:p>
        </p:txBody>
      </p:sp>
      <p:cxnSp>
        <p:nvCxnSpPr>
          <p:cNvPr id="14" name="Gerader Verbinder 13"/>
          <p:cNvCxnSpPr>
            <a:cxnSpLocks/>
          </p:cNvCxnSpPr>
          <p:nvPr/>
        </p:nvCxnSpPr>
        <p:spPr>
          <a:xfrm>
            <a:off x="5674952" y="886280"/>
            <a:ext cx="6039211"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5674952" y="3910698"/>
            <a:ext cx="6047148"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4" name="Textfeld 23"/>
          <p:cNvSpPr txBox="1"/>
          <p:nvPr/>
        </p:nvSpPr>
        <p:spPr>
          <a:xfrm>
            <a:off x="7051699" y="984712"/>
            <a:ext cx="3461824" cy="1072967"/>
          </a:xfrm>
          <a:prstGeom prst="rect">
            <a:avLst/>
          </a:prstGeom>
        </p:spPr>
        <p:txBody>
          <a:bodyPr vert="horz" wrap="square" lIns="0" tIns="0" rIns="0" bIns="0" rtlCol="0" anchor="ctr" anchorCtr="0">
            <a:noAutofit/>
          </a:bodyPr>
          <a:lstStyle/>
          <a:p>
            <a:pPr marL="0" indent="0">
              <a:lnSpc>
                <a:spcPct val="93000"/>
              </a:lnSpc>
              <a:spcAft>
                <a:spcPts val="600"/>
              </a:spcAft>
              <a:buNone/>
            </a:pPr>
            <a:r>
              <a:rPr lang="en-US" b="1" dirty="0"/>
              <a:t>Predictive KPI Integration via </a:t>
            </a:r>
            <a:r>
              <a:rPr lang="en-US" b="1" dirty="0" err="1"/>
              <a:t>TabPy</a:t>
            </a:r>
            <a:endParaRPr lang="en-US" b="1" dirty="0"/>
          </a:p>
          <a:p>
            <a:pPr marL="0" indent="0">
              <a:lnSpc>
                <a:spcPct val="93000"/>
              </a:lnSpc>
              <a:spcAft>
                <a:spcPts val="600"/>
              </a:spcAft>
              <a:buNone/>
            </a:pPr>
            <a:r>
              <a:rPr lang="en-US" sz="1200" dirty="0"/>
              <a:t>Embedded Python logic using </a:t>
            </a:r>
            <a:r>
              <a:rPr lang="en-US" sz="1200" dirty="0" err="1"/>
              <a:t>TabPy</a:t>
            </a:r>
            <a:r>
              <a:rPr lang="en-US" sz="1200" dirty="0"/>
              <a:t> to generate predictive insights such as delay risk scores and effectiveness probability for each document-country pair.</a:t>
            </a:r>
          </a:p>
        </p:txBody>
      </p:sp>
      <p:sp>
        <p:nvSpPr>
          <p:cNvPr id="25" name="Textfeld 24"/>
          <p:cNvSpPr txBox="1"/>
          <p:nvPr/>
        </p:nvSpPr>
        <p:spPr>
          <a:xfrm>
            <a:off x="7143034" y="4224659"/>
            <a:ext cx="4114438" cy="1052127"/>
          </a:xfrm>
          <a:prstGeom prst="rect">
            <a:avLst/>
          </a:prstGeom>
        </p:spPr>
        <p:txBody>
          <a:bodyPr vert="horz" wrap="square" lIns="0" tIns="0" rIns="0" bIns="0" rtlCol="0" anchor="ctr" anchorCtr="0">
            <a:noAutofit/>
          </a:bodyPr>
          <a:lstStyle/>
          <a:p>
            <a:pPr marL="0" indent="0">
              <a:lnSpc>
                <a:spcPct val="93000"/>
              </a:lnSpc>
              <a:spcAft>
                <a:spcPts val="600"/>
              </a:spcAft>
              <a:buNone/>
            </a:pPr>
            <a:r>
              <a:rPr lang="en-US" b="1" dirty="0"/>
              <a:t>Mail Alerts &amp; Audit Trail for Compliance</a:t>
            </a:r>
            <a:r>
              <a:rPr lang="en-US" dirty="0"/>
              <a:t> </a:t>
            </a:r>
            <a:r>
              <a:rPr lang="en-US" sz="1200" dirty="0"/>
              <a:t>Implemented VBA-driven mail alerts for pending actions and built audit trail tables in </a:t>
            </a:r>
            <a:r>
              <a:rPr lang="en-US" sz="1200" dirty="0" err="1"/>
              <a:t>AccessDB</a:t>
            </a:r>
            <a:r>
              <a:rPr lang="en-US" sz="1200" dirty="0"/>
              <a:t> to log user activity, document updates, and lifecycle transitions for traceability.</a:t>
            </a:r>
            <a:endParaRPr lang="en-GB" sz="1600" dirty="0"/>
          </a:p>
        </p:txBody>
      </p:sp>
      <p:sp>
        <p:nvSpPr>
          <p:cNvPr id="26" name="Textfeld 25"/>
          <p:cNvSpPr txBox="1"/>
          <p:nvPr/>
        </p:nvSpPr>
        <p:spPr>
          <a:xfrm>
            <a:off x="478367" y="1658210"/>
            <a:ext cx="3544705" cy="1478960"/>
          </a:xfrm>
          <a:prstGeom prst="rect">
            <a:avLst/>
          </a:prstGeom>
        </p:spPr>
        <p:txBody>
          <a:bodyPr vert="horz" wrap="square" lIns="0" tIns="0" rIns="0" bIns="0" rtlCol="0" anchor="ctr" anchorCtr="0">
            <a:noAutofit/>
          </a:bodyPr>
          <a:lstStyle/>
          <a:p>
            <a:pPr marL="0" indent="0">
              <a:lnSpc>
                <a:spcPct val="93000"/>
              </a:lnSpc>
              <a:spcAft>
                <a:spcPts val="600"/>
              </a:spcAft>
              <a:buNone/>
            </a:pPr>
            <a:r>
              <a:rPr lang="en-US" b="1" dirty="0" err="1"/>
              <a:t>AccessDB</a:t>
            </a:r>
            <a:r>
              <a:rPr lang="en-US" b="1" dirty="0"/>
              <a:t> Application for Multi-Country Tracking</a:t>
            </a:r>
          </a:p>
          <a:p>
            <a:pPr marL="0" indent="0">
              <a:lnSpc>
                <a:spcPct val="93000"/>
              </a:lnSpc>
              <a:spcAft>
                <a:spcPts val="600"/>
              </a:spcAft>
              <a:buNone/>
            </a:pPr>
            <a:r>
              <a:rPr lang="en-US" sz="1200" dirty="0"/>
              <a:t>Building a centralized user interface using </a:t>
            </a:r>
            <a:r>
              <a:rPr lang="en-US" sz="1200" dirty="0" err="1"/>
              <a:t>AccessDB</a:t>
            </a:r>
            <a:r>
              <a:rPr lang="en-US" sz="1200" dirty="0"/>
              <a:t> and VBA to manage the lifecycle of quality documents—Technical Reading, Implementation, and Effectiveness Check—across all applicable countries.</a:t>
            </a:r>
            <a:endParaRPr lang="en-GB" sz="1200" dirty="0"/>
          </a:p>
        </p:txBody>
      </p:sp>
      <p:sp>
        <p:nvSpPr>
          <p:cNvPr id="27" name="Textfeld 26"/>
          <p:cNvSpPr txBox="1"/>
          <p:nvPr/>
        </p:nvSpPr>
        <p:spPr>
          <a:xfrm>
            <a:off x="6991752" y="2687601"/>
            <a:ext cx="3640942" cy="945726"/>
          </a:xfrm>
          <a:prstGeom prst="rect">
            <a:avLst/>
          </a:prstGeom>
        </p:spPr>
        <p:txBody>
          <a:bodyPr vert="horz" wrap="square" lIns="0" tIns="0" rIns="0" bIns="0" rtlCol="0" anchor="ctr" anchorCtr="0">
            <a:noAutofit/>
          </a:bodyPr>
          <a:lstStyle/>
          <a:p>
            <a:pPr marL="0" indent="0">
              <a:lnSpc>
                <a:spcPct val="93000"/>
              </a:lnSpc>
              <a:spcAft>
                <a:spcPts val="600"/>
              </a:spcAft>
              <a:buNone/>
            </a:pPr>
            <a:r>
              <a:rPr lang="en-US" b="1" dirty="0"/>
              <a:t>Interactive Dashboards in Tableau</a:t>
            </a:r>
            <a:r>
              <a:rPr lang="en-US" dirty="0"/>
              <a:t> </a:t>
            </a:r>
            <a:r>
              <a:rPr lang="en-US" sz="1200" dirty="0"/>
              <a:t>Designed dynamic Tableau dashboards to visualize document status, country-wise progress, and KPI metrics with filterable views and status tiles.</a:t>
            </a:r>
            <a:endParaRPr lang="en-GB" dirty="0"/>
          </a:p>
        </p:txBody>
      </p:sp>
      <p:sp>
        <p:nvSpPr>
          <p:cNvPr id="28" name="Textfeld 27"/>
          <p:cNvSpPr txBox="1"/>
          <p:nvPr/>
        </p:nvSpPr>
        <p:spPr>
          <a:xfrm>
            <a:off x="469901" y="3146897"/>
            <a:ext cx="3544706" cy="1558225"/>
          </a:xfrm>
          <a:prstGeom prst="rect">
            <a:avLst/>
          </a:prstGeom>
        </p:spPr>
        <p:txBody>
          <a:bodyPr vert="horz" wrap="square" lIns="0" tIns="0" rIns="0" bIns="0" rtlCol="0" anchor="ctr" anchorCtr="0">
            <a:noAutofit/>
          </a:bodyPr>
          <a:lstStyle/>
          <a:p>
            <a:pPr marL="0" indent="0">
              <a:lnSpc>
                <a:spcPct val="93000"/>
              </a:lnSpc>
              <a:spcAft>
                <a:spcPts val="600"/>
              </a:spcAft>
              <a:buNone/>
            </a:pPr>
            <a:r>
              <a:rPr lang="en-US" b="1" dirty="0"/>
              <a:t>Automated ETL with Tableau Prep Builder</a:t>
            </a:r>
          </a:p>
          <a:p>
            <a:pPr marL="0" indent="0">
              <a:lnSpc>
                <a:spcPct val="93000"/>
              </a:lnSpc>
              <a:spcAft>
                <a:spcPts val="600"/>
              </a:spcAft>
              <a:buNone/>
            </a:pPr>
            <a:r>
              <a:rPr lang="en-US" sz="1400" dirty="0"/>
              <a:t>Combined and cleaned multi-country data using Tableau Prep to create a unified dataset for dashboard visualization and KPI tracking.</a:t>
            </a:r>
            <a:endParaRPr lang="en-GB" sz="1400" dirty="0"/>
          </a:p>
        </p:txBody>
      </p:sp>
      <p:cxnSp>
        <p:nvCxnSpPr>
          <p:cNvPr id="29" name="Gerader Verbinder 28"/>
          <p:cNvCxnSpPr/>
          <p:nvPr/>
        </p:nvCxnSpPr>
        <p:spPr>
          <a:xfrm>
            <a:off x="5674952" y="5473786"/>
            <a:ext cx="6047148"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a:off x="488948" y="1672801"/>
            <a:ext cx="4670807"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488948" y="4695394"/>
            <a:ext cx="4670807"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A2CE496B-3A88-99E7-3E04-47F546FC4655}"/>
              </a:ext>
            </a:extLst>
          </p:cNvPr>
          <p:cNvPicPr>
            <a:picLocks noChangeAspect="1"/>
          </p:cNvPicPr>
          <p:nvPr/>
        </p:nvPicPr>
        <p:blipFill>
          <a:blip r:embed="rId8"/>
          <a:stretch>
            <a:fillRect/>
          </a:stretch>
        </p:blipFill>
        <p:spPr>
          <a:xfrm>
            <a:off x="4297715" y="2074965"/>
            <a:ext cx="812585" cy="768380"/>
          </a:xfrm>
          <a:prstGeom prst="rect">
            <a:avLst/>
          </a:prstGeom>
        </p:spPr>
      </p:pic>
      <p:pic>
        <p:nvPicPr>
          <p:cNvPr id="1030" name="Picture 6" descr="Tableau Prep - Features, Reviews &amp; Pricing (August 2025)">
            <a:extLst>
              <a:ext uri="{FF2B5EF4-FFF2-40B4-BE49-F238E27FC236}">
                <a16:creationId xmlns:a16="http://schemas.microsoft.com/office/drawing/2014/main" id="{B07A6F45-D635-1409-4A01-0C2AC27D56C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87567" y="3589845"/>
            <a:ext cx="722733" cy="72273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5020099D-A2B0-F6BC-4416-638CE0F217A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97742" y="4219165"/>
            <a:ext cx="1841341" cy="96959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972B1C54-29B6-0C3C-D5BE-EFE4AF22B42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73356" y="2679529"/>
            <a:ext cx="1264743" cy="71062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CFC27F23-3320-B998-3FF1-4CC1BF1FC2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45061" y="1174610"/>
            <a:ext cx="914400" cy="923925"/>
          </a:xfrm>
          <a:prstGeom prst="rect">
            <a:avLst/>
          </a:prstGeom>
          <a:noFill/>
          <a:extLst>
            <a:ext uri="{909E8E84-426E-40DD-AFC4-6F175D3DCCD1}">
              <a14:hiddenFill xmlns:a14="http://schemas.microsoft.com/office/drawing/2010/main">
                <a:solidFill>
                  <a:srgbClr val="FFFFFF"/>
                </a:solidFill>
              </a14:hiddenFill>
            </a:ext>
          </a:extLst>
        </p:spPr>
      </p:pic>
      <p:sp>
        <p:nvSpPr>
          <p:cNvPr id="11" name="Sechseck 20">
            <a:extLst>
              <a:ext uri="{FF2B5EF4-FFF2-40B4-BE49-F238E27FC236}">
                <a16:creationId xmlns:a16="http://schemas.microsoft.com/office/drawing/2014/main" id="{74E14FA1-A0E4-B643-7211-7C2204806EA9}"/>
              </a:ext>
            </a:extLst>
          </p:cNvPr>
          <p:cNvSpPr/>
          <p:nvPr/>
        </p:nvSpPr>
        <p:spPr>
          <a:xfrm>
            <a:off x="3891557" y="4798977"/>
            <a:ext cx="1707754" cy="1478961"/>
          </a:xfrm>
          <a:prstGeom prst="hexagon">
            <a:avLst>
              <a:gd name="adj" fmla="val 28608"/>
              <a:gd name="vf" fmla="val 115470"/>
            </a:avLst>
          </a:prstGeom>
          <a:solidFill>
            <a:schemeClr val="accent3"/>
          </a:solidFill>
          <a:ln w="19050"/>
        </p:spPr>
        <p:style>
          <a:lnRef idx="2">
            <a:schemeClr val="lt1">
              <a:hueOff val="0"/>
              <a:satOff val="0"/>
              <a:lumOff val="0"/>
              <a:alphaOff val="0"/>
            </a:schemeClr>
          </a:lnRef>
          <a:fillRef idx="1">
            <a:schemeClr val="accent2">
              <a:hueOff val="7650"/>
              <a:satOff val="155"/>
              <a:lumOff val="2157"/>
              <a:alphaOff val="0"/>
            </a:schemeClr>
          </a:fillRef>
          <a:effectRef idx="0">
            <a:schemeClr val="accent2">
              <a:hueOff val="7650"/>
              <a:satOff val="155"/>
              <a:lumOff val="2157"/>
              <a:alphaOff val="0"/>
            </a:schemeClr>
          </a:effectRef>
          <a:fontRef idx="minor">
            <a:schemeClr val="lt1"/>
          </a:fontRef>
        </p:style>
        <p:txBody>
          <a:bodyPr spcFirstLastPara="0" vert="horz" wrap="square" lIns="494399" tIns="40640" rIns="494399" bIns="40640" numCol="1" spcCol="1270" anchor="ctr" anchorCtr="0">
            <a:noAutofit/>
          </a:bodyPr>
          <a:lstStyle/>
          <a:p>
            <a:pPr algn="ctr" defTabSz="1422400">
              <a:lnSpc>
                <a:spcPct val="90000"/>
              </a:lnSpc>
              <a:spcBef>
                <a:spcPct val="0"/>
              </a:spcBef>
              <a:spcAft>
                <a:spcPct val="35000"/>
              </a:spcAft>
            </a:pPr>
            <a:endParaRPr lang="en-GB" sz="3200" dirty="0" err="1">
              <a:latin typeface="Arial" panose="020B0604020202020204" pitchFamily="34" charset="0"/>
            </a:endParaRPr>
          </a:p>
        </p:txBody>
      </p:sp>
      <p:cxnSp>
        <p:nvCxnSpPr>
          <p:cNvPr id="12" name="Gerader Verbinder 34">
            <a:extLst>
              <a:ext uri="{FF2B5EF4-FFF2-40B4-BE49-F238E27FC236}">
                <a16:creationId xmlns:a16="http://schemas.microsoft.com/office/drawing/2014/main" id="{BE3DE313-E611-E98D-1DD1-1BF25AF2CD40}"/>
              </a:ext>
            </a:extLst>
          </p:cNvPr>
          <p:cNvCxnSpPr/>
          <p:nvPr/>
        </p:nvCxnSpPr>
        <p:spPr>
          <a:xfrm>
            <a:off x="488948" y="6277938"/>
            <a:ext cx="4670807"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3" name="Gerader Verbinder 14">
            <a:extLst>
              <a:ext uri="{FF2B5EF4-FFF2-40B4-BE49-F238E27FC236}">
                <a16:creationId xmlns:a16="http://schemas.microsoft.com/office/drawing/2014/main" id="{4F60A7E8-A2B3-ECBE-E534-F78D8E9C3064}"/>
              </a:ext>
            </a:extLst>
          </p:cNvPr>
          <p:cNvCxnSpPr/>
          <p:nvPr/>
        </p:nvCxnSpPr>
        <p:spPr>
          <a:xfrm>
            <a:off x="5674952" y="2348768"/>
            <a:ext cx="6047148"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8" name="Gerader Verbinder 34">
            <a:extLst>
              <a:ext uri="{FF2B5EF4-FFF2-40B4-BE49-F238E27FC236}">
                <a16:creationId xmlns:a16="http://schemas.microsoft.com/office/drawing/2014/main" id="{27E114B3-37C3-0903-0BBC-7E1C898E1147}"/>
              </a:ext>
            </a:extLst>
          </p:cNvPr>
          <p:cNvCxnSpPr/>
          <p:nvPr/>
        </p:nvCxnSpPr>
        <p:spPr>
          <a:xfrm>
            <a:off x="488948" y="3137170"/>
            <a:ext cx="4670807"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C6711E8-BB37-026E-C207-58931B8DC18C}"/>
              </a:ext>
            </a:extLst>
          </p:cNvPr>
          <p:cNvSpPr txBox="1"/>
          <p:nvPr/>
        </p:nvSpPr>
        <p:spPr>
          <a:xfrm>
            <a:off x="390823" y="5362039"/>
            <a:ext cx="3346016" cy="830997"/>
          </a:xfrm>
          <a:prstGeom prst="rect">
            <a:avLst/>
          </a:prstGeom>
          <a:noFill/>
        </p:spPr>
        <p:txBody>
          <a:bodyPr wrap="square">
            <a:spAutoFit/>
          </a:bodyPr>
          <a:lstStyle/>
          <a:p>
            <a:r>
              <a:rPr lang="en-US" sz="1200" dirty="0"/>
              <a:t>Automated dashboard and data source refreshes using Python, </a:t>
            </a:r>
            <a:r>
              <a:rPr lang="en-US" sz="1200" dirty="0" err="1"/>
              <a:t>TabPy</a:t>
            </a:r>
            <a:r>
              <a:rPr lang="en-US" sz="1200" dirty="0"/>
              <a:t>, and Tableau REST API—triggered by </a:t>
            </a:r>
            <a:r>
              <a:rPr lang="en-US" sz="1200" dirty="0" err="1"/>
              <a:t>AccessDB</a:t>
            </a:r>
            <a:r>
              <a:rPr lang="en-US" sz="1200" dirty="0"/>
              <a:t> updates or KPI generation, with scalability for orchestration via Apache Airflow.</a:t>
            </a:r>
            <a:endParaRPr lang="en-GB" sz="1200" dirty="0"/>
          </a:p>
        </p:txBody>
      </p:sp>
      <p:pic>
        <p:nvPicPr>
          <p:cNvPr id="1040" name="Picture 16">
            <a:extLst>
              <a:ext uri="{FF2B5EF4-FFF2-40B4-BE49-F238E27FC236}">
                <a16:creationId xmlns:a16="http://schemas.microsoft.com/office/drawing/2014/main" id="{83655CE1-59D8-288F-978A-BA1E1996A05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981485" y="4763469"/>
            <a:ext cx="1642747" cy="1478961"/>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B881D3D3-DDE5-2730-3030-B8AC8B9F748D}"/>
              </a:ext>
            </a:extLst>
          </p:cNvPr>
          <p:cNvSpPr txBox="1"/>
          <p:nvPr/>
        </p:nvSpPr>
        <p:spPr>
          <a:xfrm>
            <a:off x="485065" y="4779633"/>
            <a:ext cx="3371885" cy="553998"/>
          </a:xfrm>
          <a:prstGeom prst="rect">
            <a:avLst/>
          </a:prstGeom>
        </p:spPr>
        <p:txBody>
          <a:bodyPr vert="horz" wrap="square" lIns="0" tIns="0" rIns="0" bIns="0" rtlCol="0">
            <a:spAutoFit/>
          </a:bodyPr>
          <a:lstStyle/>
          <a:p>
            <a:pPr algn="l" defTabSz="914400" rtl="0" eaLnBrk="1" latinLnBrk="0" hangingPunct="1">
              <a:lnSpc>
                <a:spcPct val="100000"/>
              </a:lnSpc>
              <a:spcBef>
                <a:spcPts val="0"/>
              </a:spcBef>
              <a:spcAft>
                <a:spcPts val="600"/>
              </a:spcAft>
              <a:buClr>
                <a:schemeClr val="tx2"/>
              </a:buClr>
            </a:pPr>
            <a:r>
              <a:rPr lang="en-US" b="1" dirty="0"/>
              <a:t>Scalable Dashboard Refresh Logic with </a:t>
            </a:r>
            <a:r>
              <a:rPr lang="en-US" b="1" dirty="0" err="1"/>
              <a:t>TabPy</a:t>
            </a:r>
            <a:r>
              <a:rPr lang="en-US" b="1" dirty="0"/>
              <a:t> &amp; Airflow Integration</a:t>
            </a:r>
            <a:endParaRPr lang="en-GB" sz="1800" b="1" kern="1200" dirty="0" err="1">
              <a:solidFill>
                <a:schemeClr val="tx1"/>
              </a:solidFill>
              <a:latin typeface="+mn-lt"/>
              <a:ea typeface="+mn-ea"/>
              <a:cs typeface="+mn-cs"/>
            </a:endParaRPr>
          </a:p>
        </p:txBody>
      </p:sp>
      <p:grpSp>
        <p:nvGrpSpPr>
          <p:cNvPr id="34" name="Group 33">
            <a:extLst>
              <a:ext uri="{FF2B5EF4-FFF2-40B4-BE49-F238E27FC236}">
                <a16:creationId xmlns:a16="http://schemas.microsoft.com/office/drawing/2014/main" id="{39E9C43E-C29C-AB61-54B6-80659A3DA64B}"/>
              </a:ext>
            </a:extLst>
          </p:cNvPr>
          <p:cNvGrpSpPr/>
          <p:nvPr/>
        </p:nvGrpSpPr>
        <p:grpSpPr>
          <a:xfrm>
            <a:off x="8485162" y="214431"/>
            <a:ext cx="3370288" cy="532863"/>
            <a:chOff x="8351812" y="347184"/>
            <a:chExt cx="3370288" cy="532863"/>
          </a:xfrm>
        </p:grpSpPr>
        <p:pic>
          <p:nvPicPr>
            <p:cNvPr id="36" name="Graphic 35">
              <a:extLst>
                <a:ext uri="{FF2B5EF4-FFF2-40B4-BE49-F238E27FC236}">
                  <a16:creationId xmlns:a16="http://schemas.microsoft.com/office/drawing/2014/main" id="{499C0E38-22AB-4CFD-FC7C-157D08F9BC4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448799" y="453580"/>
              <a:ext cx="2273301" cy="426087"/>
            </a:xfrm>
            <a:prstGeom prst="rect">
              <a:avLst/>
            </a:prstGeom>
          </p:spPr>
        </p:pic>
        <p:pic>
          <p:nvPicPr>
            <p:cNvPr id="37" name="Graphic 36">
              <a:extLst>
                <a:ext uri="{FF2B5EF4-FFF2-40B4-BE49-F238E27FC236}">
                  <a16:creationId xmlns:a16="http://schemas.microsoft.com/office/drawing/2014/main" id="{B4CB83B9-2336-766F-B593-BD651412277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351812" y="347184"/>
              <a:ext cx="1021843" cy="532863"/>
            </a:xfrm>
            <a:prstGeom prst="rect">
              <a:avLst/>
            </a:prstGeom>
          </p:spPr>
        </p:pic>
      </p:grpSp>
    </p:spTree>
    <p:custDataLst>
      <p:tags r:id="rId1"/>
    </p:custDataLst>
    <p:extLst>
      <p:ext uri="{BB962C8B-B14F-4D97-AF65-F5344CB8AC3E}">
        <p14:creationId xmlns:p14="http://schemas.microsoft.com/office/powerpoint/2010/main" val="3863797209"/>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0B2AEFF-6F20-4C27-8093-6BEF329649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6" name="Objekt 5" hidden="1">
                        <a:extLst>
                          <a:ext uri="{FF2B5EF4-FFF2-40B4-BE49-F238E27FC236}">
                            <a16:creationId xmlns:a16="http://schemas.microsoft.com/office/drawing/2014/main" id="{80B2AEFF-6F20-4C27-8093-6BEF329649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C35614C-5ED3-46D3-A974-58B8DB1654A8}"/>
              </a:ext>
            </a:extLst>
          </p:cNvPr>
          <p:cNvSpPr>
            <a:spLocks noGrp="1"/>
          </p:cNvSpPr>
          <p:nvPr>
            <p:ph type="title"/>
          </p:nvPr>
        </p:nvSpPr>
        <p:spPr>
          <a:xfrm>
            <a:off x="488950" y="347663"/>
            <a:ext cx="11225213" cy="400110"/>
          </a:xfrm>
        </p:spPr>
        <p:txBody>
          <a:bodyPr vert="horz"/>
          <a:lstStyle/>
          <a:p>
            <a:r>
              <a:rPr lang="en-US" dirty="0"/>
              <a:t>Countries Involved in the Project</a:t>
            </a:r>
            <a:endParaRPr lang="en-GB" dirty="0"/>
          </a:p>
        </p:txBody>
      </p:sp>
      <p:sp>
        <p:nvSpPr>
          <p:cNvPr id="100" name="Zimbabwe" descr="© INSCALE GmbH, 05.05.2010&#10;http://www.presentationload.com/">
            <a:extLst>
              <a:ext uri="{FF2B5EF4-FFF2-40B4-BE49-F238E27FC236}">
                <a16:creationId xmlns:a16="http://schemas.microsoft.com/office/drawing/2014/main" id="{7D7A362D-316C-4E85-A1D5-4C490E0E276B}"/>
              </a:ext>
            </a:extLst>
          </p:cNvPr>
          <p:cNvSpPr>
            <a:spLocks/>
          </p:cNvSpPr>
          <p:nvPr/>
        </p:nvSpPr>
        <p:spPr bwMode="gray">
          <a:xfrm>
            <a:off x="6481312" y="4743307"/>
            <a:ext cx="238452" cy="238483"/>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01" name="Zambia" descr="© INSCALE GmbH, 05.05.2010&#10;http://www.presentationload.com/">
            <a:extLst>
              <a:ext uri="{FF2B5EF4-FFF2-40B4-BE49-F238E27FC236}">
                <a16:creationId xmlns:a16="http://schemas.microsoft.com/office/drawing/2014/main" id="{B56C7CA9-268B-4B21-B8DF-F8525CC0715B}"/>
              </a:ext>
            </a:extLst>
          </p:cNvPr>
          <p:cNvSpPr>
            <a:spLocks/>
          </p:cNvSpPr>
          <p:nvPr/>
        </p:nvSpPr>
        <p:spPr bwMode="gray">
          <a:xfrm>
            <a:off x="6385931" y="4482678"/>
            <a:ext cx="359380" cy="345802"/>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02" name="Yemen" descr="© INSCALE GmbH, 05.05.2010&#10;http://www.presentationload.com/">
            <a:extLst>
              <a:ext uri="{FF2B5EF4-FFF2-40B4-BE49-F238E27FC236}">
                <a16:creationId xmlns:a16="http://schemas.microsoft.com/office/drawing/2014/main" id="{3013454D-402C-4FBA-AC27-516BC6CCDC57}"/>
              </a:ext>
            </a:extLst>
          </p:cNvPr>
          <p:cNvSpPr>
            <a:spLocks/>
          </p:cNvSpPr>
          <p:nvPr/>
        </p:nvSpPr>
        <p:spPr bwMode="gray">
          <a:xfrm>
            <a:off x="7011015" y="3537262"/>
            <a:ext cx="316800" cy="216339"/>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03" name="Western Sahara" descr="© INSCALE GmbH, 05.05.2010&#10;http://www.presentationload.com/">
            <a:extLst>
              <a:ext uri="{FF2B5EF4-FFF2-40B4-BE49-F238E27FC236}">
                <a16:creationId xmlns:a16="http://schemas.microsoft.com/office/drawing/2014/main" id="{1E527E9C-BD86-4A6F-8F08-0E1603083A08}"/>
              </a:ext>
            </a:extLst>
          </p:cNvPr>
          <p:cNvSpPr>
            <a:spLocks/>
          </p:cNvSpPr>
          <p:nvPr/>
        </p:nvSpPr>
        <p:spPr bwMode="gray">
          <a:xfrm>
            <a:off x="5205596" y="3237454"/>
            <a:ext cx="258890" cy="221449"/>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04" name="West Bank" descr="© INSCALE GmbH, 05.05.2010&#10;http://www.presentationload.com/">
            <a:extLst>
              <a:ext uri="{FF2B5EF4-FFF2-40B4-BE49-F238E27FC236}">
                <a16:creationId xmlns:a16="http://schemas.microsoft.com/office/drawing/2014/main" id="{915F842A-A5F1-4892-A0B7-28349086175E}"/>
              </a:ext>
            </a:extLst>
          </p:cNvPr>
          <p:cNvSpPr>
            <a:spLocks/>
          </p:cNvSpPr>
          <p:nvPr/>
        </p:nvSpPr>
        <p:spPr bwMode="gray">
          <a:xfrm>
            <a:off x="6753828" y="3070516"/>
            <a:ext cx="18735" cy="40883"/>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06" name="Vietnam" descr="© INSCALE GmbH, 05.05.2010&#10;http://www.presentationload.com/">
            <a:extLst>
              <a:ext uri="{FF2B5EF4-FFF2-40B4-BE49-F238E27FC236}">
                <a16:creationId xmlns:a16="http://schemas.microsoft.com/office/drawing/2014/main" id="{F5814D89-304F-4A45-8619-88D6FA92F5ED}"/>
              </a:ext>
            </a:extLst>
          </p:cNvPr>
          <p:cNvSpPr>
            <a:spLocks/>
          </p:cNvSpPr>
          <p:nvPr/>
        </p:nvSpPr>
        <p:spPr bwMode="gray">
          <a:xfrm>
            <a:off x="8794292" y="3385653"/>
            <a:ext cx="262297" cy="514443"/>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32" name="Venezuela" descr="© INSCALE GmbH, 05.05.2010&#10;http://www.presentationload.com/">
            <a:extLst>
              <a:ext uri="{FF2B5EF4-FFF2-40B4-BE49-F238E27FC236}">
                <a16:creationId xmlns:a16="http://schemas.microsoft.com/office/drawing/2014/main" id="{5018CCB0-E28C-40EA-94C1-2B31A4D45939}"/>
              </a:ext>
            </a:extLst>
          </p:cNvPr>
          <p:cNvSpPr>
            <a:spLocks noEditPoints="1"/>
          </p:cNvSpPr>
          <p:nvPr/>
        </p:nvSpPr>
        <p:spPr bwMode="gray">
          <a:xfrm>
            <a:off x="3466602" y="3775744"/>
            <a:ext cx="412181" cy="402015"/>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05" name="Uzbekistan" descr="© INSCALE GmbH, 05.05.2010&#10;http://www.presentationload.com/">
            <a:extLst>
              <a:ext uri="{FF2B5EF4-FFF2-40B4-BE49-F238E27FC236}">
                <a16:creationId xmlns:a16="http://schemas.microsoft.com/office/drawing/2014/main" id="{6B197FF1-369C-46C8-830A-C653EDDEB8C1}"/>
              </a:ext>
            </a:extLst>
          </p:cNvPr>
          <p:cNvSpPr>
            <a:spLocks/>
          </p:cNvSpPr>
          <p:nvPr/>
        </p:nvSpPr>
        <p:spPr bwMode="gray">
          <a:xfrm>
            <a:off x="7288641" y="2619099"/>
            <a:ext cx="510968" cy="287884"/>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29" name="USA (Alaska)" descr="© INSCALE GmbH, 05.05.2010&#10;http://www.presentationload.com/">
            <a:extLst>
              <a:ext uri="{FF2B5EF4-FFF2-40B4-BE49-F238E27FC236}">
                <a16:creationId xmlns:a16="http://schemas.microsoft.com/office/drawing/2014/main" id="{4B637A9F-57AA-4F2C-8861-22C653BB5F71}"/>
              </a:ext>
            </a:extLst>
          </p:cNvPr>
          <p:cNvSpPr>
            <a:spLocks noEditPoints="1"/>
          </p:cNvSpPr>
          <p:nvPr/>
        </p:nvSpPr>
        <p:spPr bwMode="gray">
          <a:xfrm>
            <a:off x="1342680" y="1794629"/>
            <a:ext cx="1326812" cy="574063"/>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33" name="USA" descr="© INSCALE GmbH, 05.05.2010&#10;http://www.presentationload.com/">
            <a:extLst>
              <a:ext uri="{FF2B5EF4-FFF2-40B4-BE49-F238E27FC236}">
                <a16:creationId xmlns:a16="http://schemas.microsoft.com/office/drawing/2014/main" id="{CEBAE6A9-AE6E-42DA-8713-6D172CDD0223}"/>
              </a:ext>
            </a:extLst>
          </p:cNvPr>
          <p:cNvSpPr>
            <a:spLocks noEditPoints="1"/>
          </p:cNvSpPr>
          <p:nvPr/>
        </p:nvSpPr>
        <p:spPr bwMode="gray">
          <a:xfrm>
            <a:off x="2211325" y="2486231"/>
            <a:ext cx="1691303" cy="838099"/>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34" name="Uruguay" descr="© INSCALE GmbH, 05.05.2010&#10;http://www.presentationload.com/">
            <a:extLst>
              <a:ext uri="{FF2B5EF4-FFF2-40B4-BE49-F238E27FC236}">
                <a16:creationId xmlns:a16="http://schemas.microsoft.com/office/drawing/2014/main" id="{F98E486A-9A0D-4D6D-8494-478109BDBA47}"/>
              </a:ext>
            </a:extLst>
          </p:cNvPr>
          <p:cNvSpPr>
            <a:spLocks/>
          </p:cNvSpPr>
          <p:nvPr/>
        </p:nvSpPr>
        <p:spPr bwMode="gray">
          <a:xfrm>
            <a:off x="4015041" y="5249233"/>
            <a:ext cx="160103" cy="165236"/>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1" name="United Kingdom" descr="© INSCALE GmbH, 05.05.2010&#10;http://www.presentationload.com/">
            <a:extLst>
              <a:ext uri="{FF2B5EF4-FFF2-40B4-BE49-F238E27FC236}">
                <a16:creationId xmlns:a16="http://schemas.microsoft.com/office/drawing/2014/main" id="{B015FCF4-A735-430D-9B04-6B80C3041736}"/>
              </a:ext>
            </a:extLst>
          </p:cNvPr>
          <p:cNvSpPr>
            <a:spLocks noEditPoints="1"/>
          </p:cNvSpPr>
          <p:nvPr/>
        </p:nvSpPr>
        <p:spPr bwMode="gray">
          <a:xfrm>
            <a:off x="5553054" y="2113175"/>
            <a:ext cx="248671" cy="356022"/>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07" name="United Arab Emirates" descr="© INSCALE GmbH, 05.05.2010&#10;http://www.presentationload.com/">
            <a:extLst>
              <a:ext uri="{FF2B5EF4-FFF2-40B4-BE49-F238E27FC236}">
                <a16:creationId xmlns:a16="http://schemas.microsoft.com/office/drawing/2014/main" id="{66D8CA1C-55C5-46B3-A033-9A940E0BC75C}"/>
              </a:ext>
            </a:extLst>
          </p:cNvPr>
          <p:cNvSpPr>
            <a:spLocks/>
          </p:cNvSpPr>
          <p:nvPr/>
        </p:nvSpPr>
        <p:spPr bwMode="gray">
          <a:xfrm>
            <a:off x="7266499" y="3276633"/>
            <a:ext cx="144774" cy="137980"/>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08" name="Ukraine" descr="© INSCALE GmbH, 05.05.2010&#10;http://www.presentationload.com/">
            <a:extLst>
              <a:ext uri="{FF2B5EF4-FFF2-40B4-BE49-F238E27FC236}">
                <a16:creationId xmlns:a16="http://schemas.microsoft.com/office/drawing/2014/main" id="{80C9B962-59D9-4A34-8543-ED78F7DAA53B}"/>
              </a:ext>
            </a:extLst>
          </p:cNvPr>
          <p:cNvSpPr>
            <a:spLocks/>
          </p:cNvSpPr>
          <p:nvPr/>
        </p:nvSpPr>
        <p:spPr bwMode="gray">
          <a:xfrm>
            <a:off x="6348460" y="2387430"/>
            <a:ext cx="482012" cy="270850"/>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09" name="Uganda" descr="© INSCALE GmbH, 05.05.2010&#10;http://www.presentationload.com/">
            <a:extLst>
              <a:ext uri="{FF2B5EF4-FFF2-40B4-BE49-F238E27FC236}">
                <a16:creationId xmlns:a16="http://schemas.microsoft.com/office/drawing/2014/main" id="{969DA5BD-639A-480E-858A-EFF8EAFEEE12}"/>
              </a:ext>
            </a:extLst>
          </p:cNvPr>
          <p:cNvSpPr>
            <a:spLocks noEditPoints="1"/>
          </p:cNvSpPr>
          <p:nvPr/>
        </p:nvSpPr>
        <p:spPr bwMode="gray">
          <a:xfrm>
            <a:off x="6622680" y="4055111"/>
            <a:ext cx="168619" cy="199305"/>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0" name="Turkmenistan" descr="© INSCALE GmbH, 05.05.2010&#10;http://www.presentationload.com/">
            <a:extLst>
              <a:ext uri="{FF2B5EF4-FFF2-40B4-BE49-F238E27FC236}">
                <a16:creationId xmlns:a16="http://schemas.microsoft.com/office/drawing/2014/main" id="{6F4B0F24-9088-459D-8946-366809090C0F}"/>
              </a:ext>
            </a:extLst>
          </p:cNvPr>
          <p:cNvSpPr>
            <a:spLocks/>
          </p:cNvSpPr>
          <p:nvPr/>
        </p:nvSpPr>
        <p:spPr bwMode="gray">
          <a:xfrm>
            <a:off x="7210292" y="2712790"/>
            <a:ext cx="436026" cy="260629"/>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1" name="Turkey" descr="© INSCALE GmbH, 05.05.2010&#10;http://www.presentationload.com/">
            <a:extLst>
              <a:ext uri="{FF2B5EF4-FFF2-40B4-BE49-F238E27FC236}">
                <a16:creationId xmlns:a16="http://schemas.microsoft.com/office/drawing/2014/main" id="{6BF9355F-811F-4F99-975A-6DD155EFF828}"/>
              </a:ext>
            </a:extLst>
          </p:cNvPr>
          <p:cNvSpPr>
            <a:spLocks noEditPoints="1"/>
          </p:cNvSpPr>
          <p:nvPr/>
        </p:nvSpPr>
        <p:spPr bwMode="gray">
          <a:xfrm>
            <a:off x="6447247" y="2733232"/>
            <a:ext cx="573987" cy="218042"/>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2" name="Tunisia" descr="© INSCALE GmbH, 05.05.2010&#10;http://www.presentationload.com/">
            <a:extLst>
              <a:ext uri="{FF2B5EF4-FFF2-40B4-BE49-F238E27FC236}">
                <a16:creationId xmlns:a16="http://schemas.microsoft.com/office/drawing/2014/main" id="{0E839094-2FF5-45A7-A7DD-EF355404268F}"/>
              </a:ext>
            </a:extLst>
          </p:cNvPr>
          <p:cNvSpPr>
            <a:spLocks/>
          </p:cNvSpPr>
          <p:nvPr/>
        </p:nvSpPr>
        <p:spPr bwMode="gray">
          <a:xfrm>
            <a:off x="5948203" y="2901872"/>
            <a:ext cx="117522" cy="245297"/>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3" name="Togo" descr="© INSCALE GmbH, 05.05.2010&#10;http://www.presentationload.com/">
            <a:extLst>
              <a:ext uri="{FF2B5EF4-FFF2-40B4-BE49-F238E27FC236}">
                <a16:creationId xmlns:a16="http://schemas.microsoft.com/office/drawing/2014/main" id="{A73A444F-F92F-47C4-9ADC-B457EFA6C584}"/>
              </a:ext>
            </a:extLst>
          </p:cNvPr>
          <p:cNvSpPr>
            <a:spLocks/>
          </p:cNvSpPr>
          <p:nvPr/>
        </p:nvSpPr>
        <p:spPr bwMode="gray">
          <a:xfrm>
            <a:off x="5708047" y="3814924"/>
            <a:ext cx="61316" cy="173752"/>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 name="Thailand" descr="© INSCALE GmbH, 05.05.2010&#10;http://www.presentationload.com/">
            <a:extLst>
              <a:ext uri="{FF2B5EF4-FFF2-40B4-BE49-F238E27FC236}">
                <a16:creationId xmlns:a16="http://schemas.microsoft.com/office/drawing/2014/main" id="{9C27EDA8-095E-4091-9060-14DBF2DA4DDA}"/>
              </a:ext>
            </a:extLst>
          </p:cNvPr>
          <p:cNvSpPr>
            <a:spLocks/>
          </p:cNvSpPr>
          <p:nvPr/>
        </p:nvSpPr>
        <p:spPr bwMode="gray">
          <a:xfrm>
            <a:off x="8668254" y="3489565"/>
            <a:ext cx="267406" cy="512740"/>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4" name="Tanzania" descr="© INSCALE GmbH, 05.05.2010&#10;http://www.presentationload.com/">
            <a:extLst>
              <a:ext uri="{FF2B5EF4-FFF2-40B4-BE49-F238E27FC236}">
                <a16:creationId xmlns:a16="http://schemas.microsoft.com/office/drawing/2014/main" id="{D45F4089-C51E-4299-820B-3A0DE34B7C8B}"/>
              </a:ext>
            </a:extLst>
          </p:cNvPr>
          <p:cNvSpPr>
            <a:spLocks noEditPoints="1"/>
          </p:cNvSpPr>
          <p:nvPr/>
        </p:nvSpPr>
        <p:spPr bwMode="gray">
          <a:xfrm>
            <a:off x="6620976" y="4235677"/>
            <a:ext cx="332128" cy="374760"/>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5" name="Tajikistan" descr="© INSCALE GmbH, 05.05.2010&#10;http://www.presentationload.com/">
            <a:extLst>
              <a:ext uri="{FF2B5EF4-FFF2-40B4-BE49-F238E27FC236}">
                <a16:creationId xmlns:a16="http://schemas.microsoft.com/office/drawing/2014/main" id="{694435B4-66F9-4778-8BF6-55490562E7DC}"/>
              </a:ext>
            </a:extLst>
          </p:cNvPr>
          <p:cNvSpPr>
            <a:spLocks/>
          </p:cNvSpPr>
          <p:nvPr/>
        </p:nvSpPr>
        <p:spPr bwMode="gray">
          <a:xfrm>
            <a:off x="7651428" y="2774114"/>
            <a:ext cx="238452" cy="15160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6" name="Syria" descr="© INSCALE GmbH, 05.05.2010&#10;http://www.presentationload.com/">
            <a:extLst>
              <a:ext uri="{FF2B5EF4-FFF2-40B4-BE49-F238E27FC236}">
                <a16:creationId xmlns:a16="http://schemas.microsoft.com/office/drawing/2014/main" id="{52BEA281-A11E-4149-86D0-C6601C2483C7}"/>
              </a:ext>
            </a:extLst>
          </p:cNvPr>
          <p:cNvSpPr>
            <a:spLocks/>
          </p:cNvSpPr>
          <p:nvPr/>
        </p:nvSpPr>
        <p:spPr bwMode="gray">
          <a:xfrm>
            <a:off x="6758938" y="2898466"/>
            <a:ext cx="194168" cy="178863"/>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7" name="Swaziland" descr="© INSCALE GmbH, 05.05.2010&#10;http://www.presentationload.com/">
            <a:extLst>
              <a:ext uri="{FF2B5EF4-FFF2-40B4-BE49-F238E27FC236}">
                <a16:creationId xmlns:a16="http://schemas.microsoft.com/office/drawing/2014/main" id="{E5C6A271-2CFA-4F47-8B27-AF7861B0A170}"/>
              </a:ext>
            </a:extLst>
          </p:cNvPr>
          <p:cNvSpPr>
            <a:spLocks/>
          </p:cNvSpPr>
          <p:nvPr/>
        </p:nvSpPr>
        <p:spPr bwMode="gray">
          <a:xfrm>
            <a:off x="6641415" y="5094218"/>
            <a:ext cx="44284" cy="57917"/>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2" name="Switzerland" descr="© INSCALE GmbH, 05.05.2010&#10;http://www.presentationload.com/">
            <a:extLst>
              <a:ext uri="{FF2B5EF4-FFF2-40B4-BE49-F238E27FC236}">
                <a16:creationId xmlns:a16="http://schemas.microsoft.com/office/drawing/2014/main" id="{A6B5861F-1973-4D64-9442-25129DB29D1F}"/>
              </a:ext>
            </a:extLst>
          </p:cNvPr>
          <p:cNvSpPr>
            <a:spLocks/>
          </p:cNvSpPr>
          <p:nvPr/>
        </p:nvSpPr>
        <p:spPr bwMode="gray">
          <a:xfrm>
            <a:off x="5910732" y="2539037"/>
            <a:ext cx="124335" cy="68138"/>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3" name="Sweden" descr="© INSCALE GmbH, 05.05.2010&#10;http://www.presentationload.com/">
            <a:extLst>
              <a:ext uri="{FF2B5EF4-FFF2-40B4-BE49-F238E27FC236}">
                <a16:creationId xmlns:a16="http://schemas.microsoft.com/office/drawing/2014/main" id="{F609AEB7-1AEE-4DCE-A09F-470AA3C9846E}"/>
              </a:ext>
            </a:extLst>
          </p:cNvPr>
          <p:cNvSpPr>
            <a:spLocks noEditPoints="1"/>
          </p:cNvSpPr>
          <p:nvPr/>
        </p:nvSpPr>
        <p:spPr bwMode="gray">
          <a:xfrm>
            <a:off x="6052099" y="1859360"/>
            <a:ext cx="299768" cy="427567"/>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8" name="Suriname" descr="© INSCALE GmbH, 05.05.2010&#10;http://www.presentationload.com/">
            <a:extLst>
              <a:ext uri="{FF2B5EF4-FFF2-40B4-BE49-F238E27FC236}">
                <a16:creationId xmlns:a16="http://schemas.microsoft.com/office/drawing/2014/main" id="{E2A2B9B1-E101-4E27-8505-4EBC3C361E1C}"/>
              </a:ext>
            </a:extLst>
          </p:cNvPr>
          <p:cNvSpPr>
            <a:spLocks/>
          </p:cNvSpPr>
          <p:nvPr/>
        </p:nvSpPr>
        <p:spPr bwMode="gray">
          <a:xfrm>
            <a:off x="3928177" y="3992082"/>
            <a:ext cx="126039" cy="144794"/>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98" name="Sudan">
            <a:extLst>
              <a:ext uri="{FF2B5EF4-FFF2-40B4-BE49-F238E27FC236}">
                <a16:creationId xmlns:a16="http://schemas.microsoft.com/office/drawing/2014/main" id="{7F1E89B4-51DF-4EF0-A5DA-F131941BEE66}"/>
              </a:ext>
            </a:extLst>
          </p:cNvPr>
          <p:cNvSpPr>
            <a:spLocks/>
          </p:cNvSpPr>
          <p:nvPr/>
        </p:nvSpPr>
        <p:spPr bwMode="auto">
          <a:xfrm>
            <a:off x="6375622" y="3389166"/>
            <a:ext cx="520425" cy="510634"/>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9" name="Sri Lanka" descr="© INSCALE GmbH, 05.05.2010&#10;http://www.presentationload.com/">
            <a:extLst>
              <a:ext uri="{FF2B5EF4-FFF2-40B4-BE49-F238E27FC236}">
                <a16:creationId xmlns:a16="http://schemas.microsoft.com/office/drawing/2014/main" id="{6EB1A741-2C8B-4D9A-BF80-CBDA92A1150D}"/>
              </a:ext>
            </a:extLst>
          </p:cNvPr>
          <p:cNvSpPr>
            <a:spLocks/>
          </p:cNvSpPr>
          <p:nvPr/>
        </p:nvSpPr>
        <p:spPr bwMode="gray">
          <a:xfrm>
            <a:off x="8155583" y="3866028"/>
            <a:ext cx="73238" cy="131166"/>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4" name="Spain" descr="© INSCALE GmbH, 05.05.2010&#10;http://www.presentationload.com/">
            <a:extLst>
              <a:ext uri="{FF2B5EF4-FFF2-40B4-BE49-F238E27FC236}">
                <a16:creationId xmlns:a16="http://schemas.microsoft.com/office/drawing/2014/main" id="{A15B7C5E-4FEF-4B95-851E-A911F758703C}"/>
              </a:ext>
            </a:extLst>
          </p:cNvPr>
          <p:cNvSpPr>
            <a:spLocks noEditPoints="1"/>
          </p:cNvSpPr>
          <p:nvPr/>
        </p:nvSpPr>
        <p:spPr bwMode="gray">
          <a:xfrm>
            <a:off x="5479815" y="2678721"/>
            <a:ext cx="378116" cy="265739"/>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99" name="South Sudan">
            <a:extLst>
              <a:ext uri="{FF2B5EF4-FFF2-40B4-BE49-F238E27FC236}">
                <a16:creationId xmlns:a16="http://schemas.microsoft.com/office/drawing/2014/main" id="{0E41177A-6C91-4294-85F7-AD6340D6E601}"/>
              </a:ext>
            </a:extLst>
          </p:cNvPr>
          <p:cNvSpPr>
            <a:spLocks/>
          </p:cNvSpPr>
          <p:nvPr/>
        </p:nvSpPr>
        <p:spPr bwMode="auto">
          <a:xfrm>
            <a:off x="6447933" y="3769403"/>
            <a:ext cx="374706" cy="313394"/>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95" name="South Africa" descr="© INSCALE GmbH, 05.05.2010&#10;http://www.presentationload.com/">
            <a:extLst>
              <a:ext uri="{FF2B5EF4-FFF2-40B4-BE49-F238E27FC236}">
                <a16:creationId xmlns:a16="http://schemas.microsoft.com/office/drawing/2014/main" id="{A551FB61-5BD7-4F27-B6DC-B14A52B646E8}"/>
              </a:ext>
            </a:extLst>
          </p:cNvPr>
          <p:cNvSpPr>
            <a:spLocks noEditPoints="1"/>
          </p:cNvSpPr>
          <p:nvPr/>
        </p:nvSpPr>
        <p:spPr bwMode="gray">
          <a:xfrm>
            <a:off x="6210499" y="4971570"/>
            <a:ext cx="490529" cy="441195"/>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0" name="Somalia" descr="© INSCALE GmbH, 05.05.2010&#10;http://www.presentationload.com/">
            <a:extLst>
              <a:ext uri="{FF2B5EF4-FFF2-40B4-BE49-F238E27FC236}">
                <a16:creationId xmlns:a16="http://schemas.microsoft.com/office/drawing/2014/main" id="{705B6740-3EF2-4687-B5B1-62632CA4A857}"/>
              </a:ext>
            </a:extLst>
          </p:cNvPr>
          <p:cNvSpPr>
            <a:spLocks/>
          </p:cNvSpPr>
          <p:nvPr/>
        </p:nvSpPr>
        <p:spPr bwMode="gray">
          <a:xfrm>
            <a:off x="6973545" y="3780855"/>
            <a:ext cx="308283" cy="478671"/>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1" name="Solomon Islands" descr="© INSCALE GmbH, 05.05.2010&#10;http://www.presentationload.com/">
            <a:extLst>
              <a:ext uri="{FF2B5EF4-FFF2-40B4-BE49-F238E27FC236}">
                <a16:creationId xmlns:a16="http://schemas.microsoft.com/office/drawing/2014/main" id="{AF8A8942-8978-4EE3-A5B1-F05D89B41115}"/>
              </a:ext>
            </a:extLst>
          </p:cNvPr>
          <p:cNvSpPr>
            <a:spLocks noEditPoints="1"/>
          </p:cNvSpPr>
          <p:nvPr/>
        </p:nvSpPr>
        <p:spPr bwMode="gray">
          <a:xfrm>
            <a:off x="10517957" y="4433278"/>
            <a:ext cx="160103" cy="149904"/>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5" name="Slovenia" descr="© INSCALE GmbH, 05.05.2010&#10;http://www.presentationload.com/">
            <a:extLst>
              <a:ext uri="{FF2B5EF4-FFF2-40B4-BE49-F238E27FC236}">
                <a16:creationId xmlns:a16="http://schemas.microsoft.com/office/drawing/2014/main" id="{33F7B96A-E464-453B-8CA1-82A1B5594D72}"/>
              </a:ext>
            </a:extLst>
          </p:cNvPr>
          <p:cNvSpPr>
            <a:spLocks/>
          </p:cNvSpPr>
          <p:nvPr/>
        </p:nvSpPr>
        <p:spPr bwMode="gray">
          <a:xfrm>
            <a:off x="6110008" y="2567996"/>
            <a:ext cx="90270" cy="52808"/>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6" name="Slovakia" descr="© INSCALE GmbH, 05.05.2010&#10;http://www.presentationload.com/">
            <a:extLst>
              <a:ext uri="{FF2B5EF4-FFF2-40B4-BE49-F238E27FC236}">
                <a16:creationId xmlns:a16="http://schemas.microsoft.com/office/drawing/2014/main" id="{AF891B50-772B-4C57-B2CC-5938ADC0C784}"/>
              </a:ext>
            </a:extLst>
          </p:cNvPr>
          <p:cNvSpPr>
            <a:spLocks/>
          </p:cNvSpPr>
          <p:nvPr/>
        </p:nvSpPr>
        <p:spPr bwMode="gray">
          <a:xfrm>
            <a:off x="6201983" y="2481120"/>
            <a:ext cx="154993" cy="63028"/>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2" name="Sierra Leone" descr="© INSCALE GmbH, 05.05.2010&#10;http://www.presentationload.com/">
            <a:extLst>
              <a:ext uri="{FF2B5EF4-FFF2-40B4-BE49-F238E27FC236}">
                <a16:creationId xmlns:a16="http://schemas.microsoft.com/office/drawing/2014/main" id="{16912B91-CC42-4137-803C-E2FE5806E070}"/>
              </a:ext>
            </a:extLst>
          </p:cNvPr>
          <p:cNvSpPr>
            <a:spLocks/>
          </p:cNvSpPr>
          <p:nvPr/>
        </p:nvSpPr>
        <p:spPr bwMode="gray">
          <a:xfrm>
            <a:off x="5307790" y="3848993"/>
            <a:ext cx="90270" cy="115835"/>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97" name="Serbien" descr="© INSCALE GmbH, 05.05.2010&#10;http://www.presentationload.com/">
            <a:extLst>
              <a:ext uri="{FF2B5EF4-FFF2-40B4-BE49-F238E27FC236}">
                <a16:creationId xmlns:a16="http://schemas.microsoft.com/office/drawing/2014/main" id="{59121FFD-495F-4BB9-8FAF-1210F7493820}"/>
              </a:ext>
            </a:extLst>
          </p:cNvPr>
          <p:cNvSpPr>
            <a:spLocks/>
          </p:cNvSpPr>
          <p:nvPr/>
        </p:nvSpPr>
        <p:spPr bwMode="gray">
          <a:xfrm>
            <a:off x="6259892" y="2596956"/>
            <a:ext cx="119226" cy="130735"/>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3" name="Senegal" descr="© INSCALE GmbH, 05.05.2010&#10;http://www.presentationload.com/">
            <a:extLst>
              <a:ext uri="{FF2B5EF4-FFF2-40B4-BE49-F238E27FC236}">
                <a16:creationId xmlns:a16="http://schemas.microsoft.com/office/drawing/2014/main" id="{1E6B8F97-6062-4293-AB2D-8F31F0D88239}"/>
              </a:ext>
            </a:extLst>
          </p:cNvPr>
          <p:cNvSpPr>
            <a:spLocks/>
          </p:cNvSpPr>
          <p:nvPr/>
        </p:nvSpPr>
        <p:spPr bwMode="gray">
          <a:xfrm>
            <a:off x="5217518" y="3613917"/>
            <a:ext cx="180542" cy="158422"/>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4" name="Saudi Arabia" descr="© INSCALE GmbH, 05.05.2010&#10;http://www.presentationload.com/">
            <a:extLst>
              <a:ext uri="{FF2B5EF4-FFF2-40B4-BE49-F238E27FC236}">
                <a16:creationId xmlns:a16="http://schemas.microsoft.com/office/drawing/2014/main" id="{26886F98-0822-4F02-8A10-D90549ABB4D9}"/>
              </a:ext>
            </a:extLst>
          </p:cNvPr>
          <p:cNvSpPr>
            <a:spLocks/>
          </p:cNvSpPr>
          <p:nvPr/>
        </p:nvSpPr>
        <p:spPr bwMode="gray">
          <a:xfrm>
            <a:off x="6753828" y="3080735"/>
            <a:ext cx="640413" cy="550216"/>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5" name="Rwanda" descr="© INSCALE GmbH, 05.05.2010&#10;http://www.presentationload.com/">
            <a:extLst>
              <a:ext uri="{FF2B5EF4-FFF2-40B4-BE49-F238E27FC236}">
                <a16:creationId xmlns:a16="http://schemas.microsoft.com/office/drawing/2014/main" id="{6BCB1532-326C-484F-8DE4-E89AF1A08F12}"/>
              </a:ext>
            </a:extLst>
          </p:cNvPr>
          <p:cNvSpPr>
            <a:spLocks/>
          </p:cNvSpPr>
          <p:nvPr/>
        </p:nvSpPr>
        <p:spPr bwMode="gray">
          <a:xfrm>
            <a:off x="6597131" y="4235677"/>
            <a:ext cx="64723" cy="63028"/>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93" name="Russia (Urup,Simushir)" descr="© INSCALE GmbH, 05.05.2010&#10;http://www.presentationload.com/">
            <a:extLst>
              <a:ext uri="{FF2B5EF4-FFF2-40B4-BE49-F238E27FC236}">
                <a16:creationId xmlns:a16="http://schemas.microsoft.com/office/drawing/2014/main" id="{010F0F0B-BEB4-4420-8F55-6A999834F3E4}"/>
              </a:ext>
            </a:extLst>
          </p:cNvPr>
          <p:cNvSpPr>
            <a:spLocks noEditPoints="1"/>
          </p:cNvSpPr>
          <p:nvPr/>
        </p:nvSpPr>
        <p:spPr bwMode="gray">
          <a:xfrm>
            <a:off x="9778757" y="2160872"/>
            <a:ext cx="131148" cy="517850"/>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6" name="Russia" descr="© INSCALE GmbH, 05.05.2010&#10;http://www.presentationload.com/">
            <a:extLst>
              <a:ext uri="{FF2B5EF4-FFF2-40B4-BE49-F238E27FC236}">
                <a16:creationId xmlns:a16="http://schemas.microsoft.com/office/drawing/2014/main" id="{29921A0E-FF96-4D91-9C37-4F7B241AA53B}"/>
              </a:ext>
            </a:extLst>
          </p:cNvPr>
          <p:cNvSpPr>
            <a:spLocks noEditPoints="1"/>
          </p:cNvSpPr>
          <p:nvPr/>
        </p:nvSpPr>
        <p:spPr bwMode="gray">
          <a:xfrm>
            <a:off x="6273518" y="1522076"/>
            <a:ext cx="3907200" cy="1243521"/>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7" name="Romania" descr="© INSCALE GmbH, 05.05.2010&#10;http://www.presentationload.com/">
            <a:extLst>
              <a:ext uri="{FF2B5EF4-FFF2-40B4-BE49-F238E27FC236}">
                <a16:creationId xmlns:a16="http://schemas.microsoft.com/office/drawing/2014/main" id="{29473072-5616-40DE-8DDE-16D88330EA4D}"/>
              </a:ext>
            </a:extLst>
          </p:cNvPr>
          <p:cNvSpPr>
            <a:spLocks/>
          </p:cNvSpPr>
          <p:nvPr/>
        </p:nvSpPr>
        <p:spPr bwMode="gray">
          <a:xfrm>
            <a:off x="6299067" y="2525410"/>
            <a:ext cx="265703" cy="158422"/>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7" name="Qatar" descr="© INSCALE GmbH, 05.05.2010&#10;http://www.presentationload.com/">
            <a:extLst>
              <a:ext uri="{FF2B5EF4-FFF2-40B4-BE49-F238E27FC236}">
                <a16:creationId xmlns:a16="http://schemas.microsoft.com/office/drawing/2014/main" id="{B27DF2EC-7A6F-4146-9129-2B3ABE8955DA}"/>
              </a:ext>
            </a:extLst>
          </p:cNvPr>
          <p:cNvSpPr>
            <a:spLocks/>
          </p:cNvSpPr>
          <p:nvPr/>
        </p:nvSpPr>
        <p:spPr bwMode="gray">
          <a:xfrm>
            <a:off x="7244357" y="3286854"/>
            <a:ext cx="28954" cy="61324"/>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35" name="Puerto Rico" descr="© INSCALE GmbH, 05.05.2010&#10;http://www.presentationload.com/">
            <a:extLst>
              <a:ext uri="{FF2B5EF4-FFF2-40B4-BE49-F238E27FC236}">
                <a16:creationId xmlns:a16="http://schemas.microsoft.com/office/drawing/2014/main" id="{B0EC804F-B5E4-45E5-8451-072E0F9264EB}"/>
              </a:ext>
            </a:extLst>
          </p:cNvPr>
          <p:cNvSpPr>
            <a:spLocks/>
          </p:cNvSpPr>
          <p:nvPr/>
        </p:nvSpPr>
        <p:spPr bwMode="gray">
          <a:xfrm>
            <a:off x="3682912" y="3559406"/>
            <a:ext cx="59612" cy="25552"/>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8" name="Portugal" descr="© INSCALE GmbH, 05.05.2010&#10;http://www.presentationload.com/">
            <a:extLst>
              <a:ext uri="{FF2B5EF4-FFF2-40B4-BE49-F238E27FC236}">
                <a16:creationId xmlns:a16="http://schemas.microsoft.com/office/drawing/2014/main" id="{11A0B9EC-0216-4DC2-9504-646CA1B0690D}"/>
              </a:ext>
            </a:extLst>
          </p:cNvPr>
          <p:cNvSpPr>
            <a:spLocks/>
          </p:cNvSpPr>
          <p:nvPr/>
        </p:nvSpPr>
        <p:spPr bwMode="gray">
          <a:xfrm>
            <a:off x="5464486" y="2736639"/>
            <a:ext cx="98787" cy="177159"/>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9" name="Poland" descr="© INSCALE GmbH, 05.05.2010&#10;http://www.presentationload.com/">
            <a:extLst>
              <a:ext uri="{FF2B5EF4-FFF2-40B4-BE49-F238E27FC236}">
                <a16:creationId xmlns:a16="http://schemas.microsoft.com/office/drawing/2014/main" id="{CA9A6CD5-A7A1-42F3-A67F-E0027B2D3E9B}"/>
              </a:ext>
            </a:extLst>
          </p:cNvPr>
          <p:cNvSpPr>
            <a:spLocks/>
          </p:cNvSpPr>
          <p:nvPr/>
        </p:nvSpPr>
        <p:spPr bwMode="gray">
          <a:xfrm>
            <a:off x="6128745" y="2305665"/>
            <a:ext cx="269110" cy="194194"/>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 name="Philippines" descr="© INSCALE GmbH, 05.05.2010&#10;http://www.presentationload.com/">
            <a:extLst>
              <a:ext uri="{FF2B5EF4-FFF2-40B4-BE49-F238E27FC236}">
                <a16:creationId xmlns:a16="http://schemas.microsoft.com/office/drawing/2014/main" id="{E1F29F62-2A95-4F0D-9D0F-C198E8FFA93F}"/>
              </a:ext>
            </a:extLst>
          </p:cNvPr>
          <p:cNvSpPr>
            <a:spLocks noEditPoints="1"/>
          </p:cNvSpPr>
          <p:nvPr/>
        </p:nvSpPr>
        <p:spPr bwMode="gray">
          <a:xfrm>
            <a:off x="9305260" y="3547482"/>
            <a:ext cx="308283" cy="519554"/>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36" name="Peru" descr="© INSCALE GmbH, 05.05.2010&#10;http://www.presentationload.com/">
            <a:extLst>
              <a:ext uri="{FF2B5EF4-FFF2-40B4-BE49-F238E27FC236}">
                <a16:creationId xmlns:a16="http://schemas.microsoft.com/office/drawing/2014/main" id="{4C1ADF73-2D26-4E80-B06F-67A475C38C54}"/>
              </a:ext>
            </a:extLst>
          </p:cNvPr>
          <p:cNvSpPr>
            <a:spLocks/>
          </p:cNvSpPr>
          <p:nvPr/>
        </p:nvSpPr>
        <p:spPr bwMode="gray">
          <a:xfrm>
            <a:off x="3214525" y="4198202"/>
            <a:ext cx="405368" cy="643905"/>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8" name="Papua New Guinea" descr="© INSCALE GmbH, 05.05.2010&#10;http://www.presentationload.com/">
            <a:extLst>
              <a:ext uri="{FF2B5EF4-FFF2-40B4-BE49-F238E27FC236}">
                <a16:creationId xmlns:a16="http://schemas.microsoft.com/office/drawing/2014/main" id="{3EC8F53D-1487-45F6-9FDA-AE7BB896BB77}"/>
              </a:ext>
            </a:extLst>
          </p:cNvPr>
          <p:cNvSpPr>
            <a:spLocks noEditPoints="1"/>
          </p:cNvSpPr>
          <p:nvPr/>
        </p:nvSpPr>
        <p:spPr bwMode="gray">
          <a:xfrm>
            <a:off x="10027428" y="4264636"/>
            <a:ext cx="470090" cy="313435"/>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9" name="Parcel Islands" descr="© INSCALE GmbH, 05.05.2010&#10;http://www.presentationload.com/">
            <a:extLst>
              <a:ext uri="{FF2B5EF4-FFF2-40B4-BE49-F238E27FC236}">
                <a16:creationId xmlns:a16="http://schemas.microsoft.com/office/drawing/2014/main" id="{7930D6B0-53EB-4839-A471-3CDEE2561B2A}"/>
              </a:ext>
            </a:extLst>
          </p:cNvPr>
          <p:cNvSpPr>
            <a:spLocks noEditPoints="1"/>
          </p:cNvSpPr>
          <p:nvPr/>
        </p:nvSpPr>
        <p:spPr bwMode="gray">
          <a:xfrm>
            <a:off x="9095764" y="3598586"/>
            <a:ext cx="40877" cy="27255"/>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37" name="Paraguay" descr="© INSCALE GmbH, 05.05.2010&#10;http://www.presentationload.com/">
            <a:extLst>
              <a:ext uri="{FF2B5EF4-FFF2-40B4-BE49-F238E27FC236}">
                <a16:creationId xmlns:a16="http://schemas.microsoft.com/office/drawing/2014/main" id="{849864A5-681F-47E0-8686-ADEB129423A8}"/>
              </a:ext>
            </a:extLst>
          </p:cNvPr>
          <p:cNvSpPr>
            <a:spLocks/>
          </p:cNvSpPr>
          <p:nvPr/>
        </p:nvSpPr>
        <p:spPr bwMode="gray">
          <a:xfrm>
            <a:off x="3834499" y="4869362"/>
            <a:ext cx="258890" cy="292994"/>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38" name="Panama" descr="© INSCALE GmbH, 05.05.2010&#10;http://www.presentationload.com/">
            <a:extLst>
              <a:ext uri="{FF2B5EF4-FFF2-40B4-BE49-F238E27FC236}">
                <a16:creationId xmlns:a16="http://schemas.microsoft.com/office/drawing/2014/main" id="{B100583A-B5C3-4534-85E5-6E7653AD4819}"/>
              </a:ext>
            </a:extLst>
          </p:cNvPr>
          <p:cNvSpPr>
            <a:spLocks/>
          </p:cNvSpPr>
          <p:nvPr/>
        </p:nvSpPr>
        <p:spPr bwMode="gray">
          <a:xfrm>
            <a:off x="3170241" y="3866028"/>
            <a:ext cx="175432" cy="83470"/>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29" name="Pakistan" descr="© INSCALE GmbH, 05.05.2010&#10;http://www.presentationload.com/">
            <a:extLst>
              <a:ext uri="{FF2B5EF4-FFF2-40B4-BE49-F238E27FC236}">
                <a16:creationId xmlns:a16="http://schemas.microsoft.com/office/drawing/2014/main" id="{1F2A8840-1AF9-404D-8DE6-00FAA4366392}"/>
              </a:ext>
            </a:extLst>
          </p:cNvPr>
          <p:cNvSpPr>
            <a:spLocks/>
          </p:cNvSpPr>
          <p:nvPr/>
        </p:nvSpPr>
        <p:spPr bwMode="gray">
          <a:xfrm>
            <a:off x="7525390" y="2912093"/>
            <a:ext cx="453058" cy="454823"/>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0" name="Oman" descr="© INSCALE GmbH, 05.05.2010&#10;http://www.presentationload.com/">
            <a:extLst>
              <a:ext uri="{FF2B5EF4-FFF2-40B4-BE49-F238E27FC236}">
                <a16:creationId xmlns:a16="http://schemas.microsoft.com/office/drawing/2014/main" id="{B1507ADA-3C58-468D-B85C-9CCAAC718F76}"/>
              </a:ext>
            </a:extLst>
          </p:cNvPr>
          <p:cNvSpPr>
            <a:spLocks/>
          </p:cNvSpPr>
          <p:nvPr/>
        </p:nvSpPr>
        <p:spPr bwMode="gray">
          <a:xfrm>
            <a:off x="7292047" y="3327736"/>
            <a:ext cx="233341" cy="291291"/>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0" name="Norway" descr="© INSCALE GmbH, 05.05.2010&#10;http://www.presentationload.com/">
            <a:extLst>
              <a:ext uri="{FF2B5EF4-FFF2-40B4-BE49-F238E27FC236}">
                <a16:creationId xmlns:a16="http://schemas.microsoft.com/office/drawing/2014/main" id="{8F76DAE9-AC22-4BE7-920F-FFDDF3FC83B7}"/>
              </a:ext>
            </a:extLst>
          </p:cNvPr>
          <p:cNvSpPr>
            <a:spLocks noEditPoints="1"/>
          </p:cNvSpPr>
          <p:nvPr/>
        </p:nvSpPr>
        <p:spPr bwMode="gray">
          <a:xfrm>
            <a:off x="5900512" y="1554442"/>
            <a:ext cx="587612" cy="645609"/>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1" name="Nigeria" descr="© INSCALE GmbH, 05.05.2010&#10;http://www.presentationload.com/">
            <a:extLst>
              <a:ext uri="{FF2B5EF4-FFF2-40B4-BE49-F238E27FC236}">
                <a16:creationId xmlns:a16="http://schemas.microsoft.com/office/drawing/2014/main" id="{763D3577-5D07-42FE-AA91-44F9E0649DA1}"/>
              </a:ext>
            </a:extLst>
          </p:cNvPr>
          <p:cNvSpPr>
            <a:spLocks/>
          </p:cNvSpPr>
          <p:nvPr/>
        </p:nvSpPr>
        <p:spPr bwMode="gray">
          <a:xfrm>
            <a:off x="5798319" y="3716124"/>
            <a:ext cx="361084" cy="333877"/>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2" name="Niger" descr="© INSCALE GmbH, 05.05.2010&#10;http://www.presentationload.com/">
            <a:extLst>
              <a:ext uri="{FF2B5EF4-FFF2-40B4-BE49-F238E27FC236}">
                <a16:creationId xmlns:a16="http://schemas.microsoft.com/office/drawing/2014/main" id="{EA477705-ECFE-4808-8ADA-44C5B883CE3F}"/>
              </a:ext>
            </a:extLst>
          </p:cNvPr>
          <p:cNvSpPr>
            <a:spLocks/>
          </p:cNvSpPr>
          <p:nvPr/>
        </p:nvSpPr>
        <p:spPr bwMode="gray">
          <a:xfrm>
            <a:off x="5721673" y="3382246"/>
            <a:ext cx="478606" cy="407126"/>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39" name="Nicaragua" descr="© INSCALE GmbH, 05.05.2010&#10;http://www.presentationload.com/">
            <a:extLst>
              <a:ext uri="{FF2B5EF4-FFF2-40B4-BE49-F238E27FC236}">
                <a16:creationId xmlns:a16="http://schemas.microsoft.com/office/drawing/2014/main" id="{26E5051C-9FB9-4DC5-B16D-E8667D45AF78}"/>
              </a:ext>
            </a:extLst>
          </p:cNvPr>
          <p:cNvSpPr>
            <a:spLocks/>
          </p:cNvSpPr>
          <p:nvPr/>
        </p:nvSpPr>
        <p:spPr bwMode="gray">
          <a:xfrm>
            <a:off x="3039093" y="3683759"/>
            <a:ext cx="141367" cy="143090"/>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1" name="Netherlands" descr="© INSCALE GmbH, 05.05.2010&#10;http://www.presentationload.com/">
            <a:extLst>
              <a:ext uri="{FF2B5EF4-FFF2-40B4-BE49-F238E27FC236}">
                <a16:creationId xmlns:a16="http://schemas.microsoft.com/office/drawing/2014/main" id="{D6C786F3-D059-432B-80C2-6D71228328A2}"/>
              </a:ext>
            </a:extLst>
          </p:cNvPr>
          <p:cNvSpPr>
            <a:spLocks/>
          </p:cNvSpPr>
          <p:nvPr/>
        </p:nvSpPr>
        <p:spPr bwMode="gray">
          <a:xfrm>
            <a:off x="5832383" y="2351658"/>
            <a:ext cx="117522" cy="9028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3" name="Nepal" descr="© INSCALE GmbH, 05.05.2010&#10;http://www.presentationload.com/">
            <a:extLst>
              <a:ext uri="{FF2B5EF4-FFF2-40B4-BE49-F238E27FC236}">
                <a16:creationId xmlns:a16="http://schemas.microsoft.com/office/drawing/2014/main" id="{8187ED13-BD38-4888-B35F-17A5B8ADF2B2}"/>
              </a:ext>
            </a:extLst>
          </p:cNvPr>
          <p:cNvSpPr>
            <a:spLocks/>
          </p:cNvSpPr>
          <p:nvPr/>
        </p:nvSpPr>
        <p:spPr bwMode="gray">
          <a:xfrm>
            <a:off x="8095970" y="3138654"/>
            <a:ext cx="253780" cy="143090"/>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0" name="Newfoundland" descr="© INSCALE GmbH, 05.05.2010&#10;http://www.presentationload.com/">
            <a:extLst>
              <a:ext uri="{FF2B5EF4-FFF2-40B4-BE49-F238E27FC236}">
                <a16:creationId xmlns:a16="http://schemas.microsoft.com/office/drawing/2014/main" id="{DEA94291-E61C-4720-B69B-0C7247F4D647}"/>
              </a:ext>
            </a:extLst>
          </p:cNvPr>
          <p:cNvSpPr>
            <a:spLocks/>
          </p:cNvSpPr>
          <p:nvPr/>
        </p:nvSpPr>
        <p:spPr bwMode="gray">
          <a:xfrm>
            <a:off x="4141079" y="2416390"/>
            <a:ext cx="183948" cy="165236"/>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 name="New Zealand" descr="© INSCALE GmbH, 05.05.2010&#10;http://www.presentationload.com/">
            <a:extLst>
              <a:ext uri="{FF2B5EF4-FFF2-40B4-BE49-F238E27FC236}">
                <a16:creationId xmlns:a16="http://schemas.microsoft.com/office/drawing/2014/main" id="{23C32ACD-E2EA-4878-BB72-6EBD55428978}"/>
              </a:ext>
            </a:extLst>
          </p:cNvPr>
          <p:cNvSpPr>
            <a:spLocks noEditPoints="1"/>
          </p:cNvSpPr>
          <p:nvPr/>
        </p:nvSpPr>
        <p:spPr bwMode="gray">
          <a:xfrm>
            <a:off x="10298241" y="5394025"/>
            <a:ext cx="548439" cy="424160"/>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4" name="Namibia" descr="© INSCALE GmbH, 05.05.2010&#10;http://www.presentationload.com/">
            <a:extLst>
              <a:ext uri="{FF2B5EF4-FFF2-40B4-BE49-F238E27FC236}">
                <a16:creationId xmlns:a16="http://schemas.microsoft.com/office/drawing/2014/main" id="{5D0C3313-2DFC-4160-AAF5-46A96796CC18}"/>
              </a:ext>
            </a:extLst>
          </p:cNvPr>
          <p:cNvSpPr>
            <a:spLocks/>
          </p:cNvSpPr>
          <p:nvPr/>
        </p:nvSpPr>
        <p:spPr bwMode="gray">
          <a:xfrm>
            <a:off x="6069131" y="4789298"/>
            <a:ext cx="412181" cy="420754"/>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5" name="Myanmar" descr="© INSCALE GmbH, 05.05.2010&#10;http://www.presentationload.com/">
            <a:extLst>
              <a:ext uri="{FF2B5EF4-FFF2-40B4-BE49-F238E27FC236}">
                <a16:creationId xmlns:a16="http://schemas.microsoft.com/office/drawing/2014/main" id="{1DABF932-C296-4A6E-91C2-C2CA934868FC}"/>
              </a:ext>
            </a:extLst>
          </p:cNvPr>
          <p:cNvSpPr>
            <a:spLocks/>
          </p:cNvSpPr>
          <p:nvPr/>
        </p:nvSpPr>
        <p:spPr bwMode="gray">
          <a:xfrm>
            <a:off x="8494525" y="3206792"/>
            <a:ext cx="274219" cy="647312"/>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6" name="Mozambique" descr="© INSCALE GmbH, 05.05.2010&#10;http://www.presentationload.com/">
            <a:extLst>
              <a:ext uri="{FF2B5EF4-FFF2-40B4-BE49-F238E27FC236}">
                <a16:creationId xmlns:a16="http://schemas.microsoft.com/office/drawing/2014/main" id="{0F1F5106-4F39-4B8F-88D7-DB26B7B1F8BA}"/>
              </a:ext>
            </a:extLst>
          </p:cNvPr>
          <p:cNvSpPr>
            <a:spLocks/>
          </p:cNvSpPr>
          <p:nvPr/>
        </p:nvSpPr>
        <p:spPr bwMode="gray">
          <a:xfrm>
            <a:off x="6631196" y="4564443"/>
            <a:ext cx="330426" cy="577471"/>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7" name="Morocco" descr="© INSCALE GmbH, 05.05.2010&#10;http://www.presentationload.com/">
            <a:extLst>
              <a:ext uri="{FF2B5EF4-FFF2-40B4-BE49-F238E27FC236}">
                <a16:creationId xmlns:a16="http://schemas.microsoft.com/office/drawing/2014/main" id="{6ECABF89-4B3F-46EC-8AFE-DAF45DF45C86}"/>
              </a:ext>
            </a:extLst>
          </p:cNvPr>
          <p:cNvSpPr>
            <a:spLocks/>
          </p:cNvSpPr>
          <p:nvPr/>
        </p:nvSpPr>
        <p:spPr bwMode="gray">
          <a:xfrm>
            <a:off x="5329931" y="2951274"/>
            <a:ext cx="366193" cy="286180"/>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8" name="Montenegro" descr="© INSCALE GmbH, 05.05.2010&#10;http://www.presentationload.com/">
            <a:extLst>
              <a:ext uri="{FF2B5EF4-FFF2-40B4-BE49-F238E27FC236}">
                <a16:creationId xmlns:a16="http://schemas.microsoft.com/office/drawing/2014/main" id="{E459AC0E-C750-49C8-8B1A-9BAA4C90289E}"/>
              </a:ext>
            </a:extLst>
          </p:cNvPr>
          <p:cNvSpPr>
            <a:spLocks/>
          </p:cNvSpPr>
          <p:nvPr/>
        </p:nvSpPr>
        <p:spPr bwMode="gray">
          <a:xfrm>
            <a:off x="6253079" y="2683831"/>
            <a:ext cx="49393" cy="57917"/>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39" name="Mongolia" descr="© INSCALE GmbH, 05.05.2010&#10;http://www.presentationload.com/">
            <a:extLst>
              <a:ext uri="{FF2B5EF4-FFF2-40B4-BE49-F238E27FC236}">
                <a16:creationId xmlns:a16="http://schemas.microsoft.com/office/drawing/2014/main" id="{788796AF-CCE2-4631-8D40-A2DB1F0256CA}"/>
              </a:ext>
            </a:extLst>
          </p:cNvPr>
          <p:cNvSpPr>
            <a:spLocks/>
          </p:cNvSpPr>
          <p:nvPr/>
        </p:nvSpPr>
        <p:spPr bwMode="gray">
          <a:xfrm>
            <a:off x="8111299" y="2392540"/>
            <a:ext cx="906116" cy="359429"/>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0" name="Moldova" descr="© INSCALE GmbH, 05.05.2010&#10;http://www.presentationload.com/">
            <a:extLst>
              <a:ext uri="{FF2B5EF4-FFF2-40B4-BE49-F238E27FC236}">
                <a16:creationId xmlns:a16="http://schemas.microsoft.com/office/drawing/2014/main" id="{63A768A4-A795-4501-9ECF-4FFDCEB5C72E}"/>
              </a:ext>
            </a:extLst>
          </p:cNvPr>
          <p:cNvSpPr>
            <a:spLocks/>
          </p:cNvSpPr>
          <p:nvPr/>
        </p:nvSpPr>
        <p:spPr bwMode="gray">
          <a:xfrm>
            <a:off x="6471092" y="2518597"/>
            <a:ext cx="93677" cy="102207"/>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1" name="Mexico" descr="© INSCALE GmbH, 05.05.2010&#10;http://www.presentationload.com/">
            <a:extLst>
              <a:ext uri="{FF2B5EF4-FFF2-40B4-BE49-F238E27FC236}">
                <a16:creationId xmlns:a16="http://schemas.microsoft.com/office/drawing/2014/main" id="{A5A13301-BC9C-48BB-96D9-D193DCFC4F58}"/>
              </a:ext>
            </a:extLst>
          </p:cNvPr>
          <p:cNvSpPr>
            <a:spLocks/>
          </p:cNvSpPr>
          <p:nvPr/>
        </p:nvSpPr>
        <p:spPr bwMode="gray">
          <a:xfrm>
            <a:off x="2298189" y="3063702"/>
            <a:ext cx="803923" cy="630278"/>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1" name="Mauritania" descr="© INSCALE GmbH, 05.05.2010&#10;http://www.presentationload.com/">
            <a:extLst>
              <a:ext uri="{FF2B5EF4-FFF2-40B4-BE49-F238E27FC236}">
                <a16:creationId xmlns:a16="http://schemas.microsoft.com/office/drawing/2014/main" id="{FBA7B0A5-AD53-479D-9E8B-C0D2671CBC06}"/>
              </a:ext>
            </a:extLst>
          </p:cNvPr>
          <p:cNvSpPr>
            <a:spLocks/>
          </p:cNvSpPr>
          <p:nvPr/>
        </p:nvSpPr>
        <p:spPr bwMode="gray">
          <a:xfrm>
            <a:off x="5205596" y="3252785"/>
            <a:ext cx="371303" cy="434381"/>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2" name="Mali" descr="© INSCALE GmbH, 05.05.2010&#10;http://www.presentationload.com/">
            <a:extLst>
              <a:ext uri="{FF2B5EF4-FFF2-40B4-BE49-F238E27FC236}">
                <a16:creationId xmlns:a16="http://schemas.microsoft.com/office/drawing/2014/main" id="{3AAEA28E-D29F-48B8-9EED-E787416ACD92}"/>
              </a:ext>
            </a:extLst>
          </p:cNvPr>
          <p:cNvSpPr>
            <a:spLocks/>
          </p:cNvSpPr>
          <p:nvPr/>
        </p:nvSpPr>
        <p:spPr bwMode="gray">
          <a:xfrm>
            <a:off x="5341854" y="3327736"/>
            <a:ext cx="500748" cy="519554"/>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200" name="Malaysia" descr="© INSCALE GmbH, 05.05.2010&#10;http://www.presentationload.com/">
            <a:extLst>
              <a:ext uri="{FF2B5EF4-FFF2-40B4-BE49-F238E27FC236}">
                <a16:creationId xmlns:a16="http://schemas.microsoft.com/office/drawing/2014/main" id="{6EE4645C-BD7C-45FF-A30A-86C74431D81C}"/>
              </a:ext>
            </a:extLst>
          </p:cNvPr>
          <p:cNvSpPr>
            <a:spLocks/>
          </p:cNvSpPr>
          <p:nvPr/>
        </p:nvSpPr>
        <p:spPr bwMode="gray">
          <a:xfrm>
            <a:off x="8780667" y="3942683"/>
            <a:ext cx="606348" cy="228263"/>
          </a:xfrm>
          <a:custGeom>
            <a:avLst/>
            <a:gdLst>
              <a:gd name="connsiteX0" fmla="*/ 5210 w 606348"/>
              <a:gd name="connsiteY0" fmla="*/ 22145 h 228263"/>
              <a:gd name="connsiteX1" fmla="*/ 10420 w 606348"/>
              <a:gd name="connsiteY1" fmla="*/ 22145 h 228263"/>
              <a:gd name="connsiteX2" fmla="*/ 13025 w 606348"/>
              <a:gd name="connsiteY2" fmla="*/ 27326 h 228263"/>
              <a:gd name="connsiteX3" fmla="*/ 13025 w 606348"/>
              <a:gd name="connsiteY3" fmla="*/ 29916 h 228263"/>
              <a:gd name="connsiteX4" fmla="*/ 20840 w 606348"/>
              <a:gd name="connsiteY4" fmla="*/ 29916 h 228263"/>
              <a:gd name="connsiteX5" fmla="*/ 26049 w 606348"/>
              <a:gd name="connsiteY5" fmla="*/ 32506 h 228263"/>
              <a:gd name="connsiteX6" fmla="*/ 28654 w 606348"/>
              <a:gd name="connsiteY6" fmla="*/ 35096 h 228263"/>
              <a:gd name="connsiteX7" fmla="*/ 28654 w 606348"/>
              <a:gd name="connsiteY7" fmla="*/ 40276 h 228263"/>
              <a:gd name="connsiteX8" fmla="*/ 33864 w 606348"/>
              <a:gd name="connsiteY8" fmla="*/ 40276 h 228263"/>
              <a:gd name="connsiteX9" fmla="*/ 33864 w 606348"/>
              <a:gd name="connsiteY9" fmla="*/ 45457 h 228263"/>
              <a:gd name="connsiteX10" fmla="*/ 28654 w 606348"/>
              <a:gd name="connsiteY10" fmla="*/ 50637 h 228263"/>
              <a:gd name="connsiteX11" fmla="*/ 28654 w 606348"/>
              <a:gd name="connsiteY11" fmla="*/ 53227 h 228263"/>
              <a:gd name="connsiteX12" fmla="*/ 31259 w 606348"/>
              <a:gd name="connsiteY12" fmla="*/ 55818 h 228263"/>
              <a:gd name="connsiteX13" fmla="*/ 39074 w 606348"/>
              <a:gd name="connsiteY13" fmla="*/ 55818 h 228263"/>
              <a:gd name="connsiteX14" fmla="*/ 39074 w 606348"/>
              <a:gd name="connsiteY14" fmla="*/ 53227 h 228263"/>
              <a:gd name="connsiteX15" fmla="*/ 44284 w 606348"/>
              <a:gd name="connsiteY15" fmla="*/ 53227 h 228263"/>
              <a:gd name="connsiteX16" fmla="*/ 46889 w 606348"/>
              <a:gd name="connsiteY16" fmla="*/ 50637 h 228263"/>
              <a:gd name="connsiteX17" fmla="*/ 49494 w 606348"/>
              <a:gd name="connsiteY17" fmla="*/ 50637 h 228263"/>
              <a:gd name="connsiteX18" fmla="*/ 57309 w 606348"/>
              <a:gd name="connsiteY18" fmla="*/ 58408 h 228263"/>
              <a:gd name="connsiteX19" fmla="*/ 59914 w 606348"/>
              <a:gd name="connsiteY19" fmla="*/ 55818 h 228263"/>
              <a:gd name="connsiteX20" fmla="*/ 59914 w 606348"/>
              <a:gd name="connsiteY20" fmla="*/ 53227 h 228263"/>
              <a:gd name="connsiteX21" fmla="*/ 62519 w 606348"/>
              <a:gd name="connsiteY21" fmla="*/ 48047 h 228263"/>
              <a:gd name="connsiteX22" fmla="*/ 65124 w 606348"/>
              <a:gd name="connsiteY22" fmla="*/ 45457 h 228263"/>
              <a:gd name="connsiteX23" fmla="*/ 67728 w 606348"/>
              <a:gd name="connsiteY23" fmla="*/ 40276 h 228263"/>
              <a:gd name="connsiteX24" fmla="*/ 78148 w 606348"/>
              <a:gd name="connsiteY24" fmla="*/ 50637 h 228263"/>
              <a:gd name="connsiteX25" fmla="*/ 83358 w 606348"/>
              <a:gd name="connsiteY25" fmla="*/ 53227 h 228263"/>
              <a:gd name="connsiteX26" fmla="*/ 88568 w 606348"/>
              <a:gd name="connsiteY26" fmla="*/ 58408 h 228263"/>
              <a:gd name="connsiteX27" fmla="*/ 96383 w 606348"/>
              <a:gd name="connsiteY27" fmla="*/ 60998 h 228263"/>
              <a:gd name="connsiteX28" fmla="*/ 106803 w 606348"/>
              <a:gd name="connsiteY28" fmla="*/ 71359 h 228263"/>
              <a:gd name="connsiteX29" fmla="*/ 109408 w 606348"/>
              <a:gd name="connsiteY29" fmla="*/ 76539 h 228263"/>
              <a:gd name="connsiteX30" fmla="*/ 109408 w 606348"/>
              <a:gd name="connsiteY30" fmla="*/ 130933 h 228263"/>
              <a:gd name="connsiteX31" fmla="*/ 106803 w 606348"/>
              <a:gd name="connsiteY31" fmla="*/ 133523 h 228263"/>
              <a:gd name="connsiteX32" fmla="*/ 106803 w 606348"/>
              <a:gd name="connsiteY32" fmla="*/ 138704 h 228263"/>
              <a:gd name="connsiteX33" fmla="*/ 109408 w 606348"/>
              <a:gd name="connsiteY33" fmla="*/ 141294 h 228263"/>
              <a:gd name="connsiteX34" fmla="*/ 112012 w 606348"/>
              <a:gd name="connsiteY34" fmla="*/ 146474 h 228263"/>
              <a:gd name="connsiteX35" fmla="*/ 112012 w 606348"/>
              <a:gd name="connsiteY35" fmla="*/ 156835 h 228263"/>
              <a:gd name="connsiteX36" fmla="*/ 114617 w 606348"/>
              <a:gd name="connsiteY36" fmla="*/ 159425 h 228263"/>
              <a:gd name="connsiteX37" fmla="*/ 117222 w 606348"/>
              <a:gd name="connsiteY37" fmla="*/ 164606 h 228263"/>
              <a:gd name="connsiteX38" fmla="*/ 127642 w 606348"/>
              <a:gd name="connsiteY38" fmla="*/ 174966 h 228263"/>
              <a:gd name="connsiteX39" fmla="*/ 132852 w 606348"/>
              <a:gd name="connsiteY39" fmla="*/ 185327 h 228263"/>
              <a:gd name="connsiteX40" fmla="*/ 132852 w 606348"/>
              <a:gd name="connsiteY40" fmla="*/ 198278 h 228263"/>
              <a:gd name="connsiteX41" fmla="*/ 130247 w 606348"/>
              <a:gd name="connsiteY41" fmla="*/ 203459 h 228263"/>
              <a:gd name="connsiteX42" fmla="*/ 130247 w 606348"/>
              <a:gd name="connsiteY42" fmla="*/ 208639 h 228263"/>
              <a:gd name="connsiteX43" fmla="*/ 109408 w 606348"/>
              <a:gd name="connsiteY43" fmla="*/ 211229 h 228263"/>
              <a:gd name="connsiteX44" fmla="*/ 98988 w 606348"/>
              <a:gd name="connsiteY44" fmla="*/ 195688 h 228263"/>
              <a:gd name="connsiteX45" fmla="*/ 96383 w 606348"/>
              <a:gd name="connsiteY45" fmla="*/ 195688 h 228263"/>
              <a:gd name="connsiteX46" fmla="*/ 93778 w 606348"/>
              <a:gd name="connsiteY46" fmla="*/ 193098 h 228263"/>
              <a:gd name="connsiteX47" fmla="*/ 88568 w 606348"/>
              <a:gd name="connsiteY47" fmla="*/ 193098 h 228263"/>
              <a:gd name="connsiteX48" fmla="*/ 85963 w 606348"/>
              <a:gd name="connsiteY48" fmla="*/ 190508 h 228263"/>
              <a:gd name="connsiteX49" fmla="*/ 80753 w 606348"/>
              <a:gd name="connsiteY49" fmla="*/ 187917 h 228263"/>
              <a:gd name="connsiteX50" fmla="*/ 78148 w 606348"/>
              <a:gd name="connsiteY50" fmla="*/ 187917 h 228263"/>
              <a:gd name="connsiteX51" fmla="*/ 75543 w 606348"/>
              <a:gd name="connsiteY51" fmla="*/ 185327 h 228263"/>
              <a:gd name="connsiteX52" fmla="*/ 75543 w 606348"/>
              <a:gd name="connsiteY52" fmla="*/ 182737 h 228263"/>
              <a:gd name="connsiteX53" fmla="*/ 72938 w 606348"/>
              <a:gd name="connsiteY53" fmla="*/ 180147 h 228263"/>
              <a:gd name="connsiteX54" fmla="*/ 72938 w 606348"/>
              <a:gd name="connsiteY54" fmla="*/ 174966 h 228263"/>
              <a:gd name="connsiteX55" fmla="*/ 70333 w 606348"/>
              <a:gd name="connsiteY55" fmla="*/ 174966 h 228263"/>
              <a:gd name="connsiteX56" fmla="*/ 62519 w 606348"/>
              <a:gd name="connsiteY56" fmla="*/ 167196 h 228263"/>
              <a:gd name="connsiteX57" fmla="*/ 57309 w 606348"/>
              <a:gd name="connsiteY57" fmla="*/ 164606 h 228263"/>
              <a:gd name="connsiteX58" fmla="*/ 49494 w 606348"/>
              <a:gd name="connsiteY58" fmla="*/ 159425 h 228263"/>
              <a:gd name="connsiteX59" fmla="*/ 44284 w 606348"/>
              <a:gd name="connsiteY59" fmla="*/ 156835 h 228263"/>
              <a:gd name="connsiteX60" fmla="*/ 41679 w 606348"/>
              <a:gd name="connsiteY60" fmla="*/ 154245 h 228263"/>
              <a:gd name="connsiteX61" fmla="*/ 36469 w 606348"/>
              <a:gd name="connsiteY61" fmla="*/ 143884 h 228263"/>
              <a:gd name="connsiteX62" fmla="*/ 36469 w 606348"/>
              <a:gd name="connsiteY62" fmla="*/ 130933 h 228263"/>
              <a:gd name="connsiteX63" fmla="*/ 39074 w 606348"/>
              <a:gd name="connsiteY63" fmla="*/ 125753 h 228263"/>
              <a:gd name="connsiteX64" fmla="*/ 39074 w 606348"/>
              <a:gd name="connsiteY64" fmla="*/ 120572 h 228263"/>
              <a:gd name="connsiteX65" fmla="*/ 36469 w 606348"/>
              <a:gd name="connsiteY65" fmla="*/ 123163 h 228263"/>
              <a:gd name="connsiteX66" fmla="*/ 28654 w 606348"/>
              <a:gd name="connsiteY66" fmla="*/ 123163 h 228263"/>
              <a:gd name="connsiteX67" fmla="*/ 26049 w 606348"/>
              <a:gd name="connsiteY67" fmla="*/ 120572 h 228263"/>
              <a:gd name="connsiteX68" fmla="*/ 23444 w 606348"/>
              <a:gd name="connsiteY68" fmla="*/ 115392 h 228263"/>
              <a:gd name="connsiteX69" fmla="*/ 20840 w 606348"/>
              <a:gd name="connsiteY69" fmla="*/ 107621 h 228263"/>
              <a:gd name="connsiteX70" fmla="*/ 20840 w 606348"/>
              <a:gd name="connsiteY70" fmla="*/ 99851 h 228263"/>
              <a:gd name="connsiteX71" fmla="*/ 23444 w 606348"/>
              <a:gd name="connsiteY71" fmla="*/ 94670 h 228263"/>
              <a:gd name="connsiteX72" fmla="*/ 23444 w 606348"/>
              <a:gd name="connsiteY72" fmla="*/ 81720 h 228263"/>
              <a:gd name="connsiteX73" fmla="*/ 18235 w 606348"/>
              <a:gd name="connsiteY73" fmla="*/ 79129 h 228263"/>
              <a:gd name="connsiteX74" fmla="*/ 10420 w 606348"/>
              <a:gd name="connsiteY74" fmla="*/ 79129 h 228263"/>
              <a:gd name="connsiteX75" fmla="*/ 7815 w 606348"/>
              <a:gd name="connsiteY75" fmla="*/ 81720 h 228263"/>
              <a:gd name="connsiteX76" fmla="*/ 2605 w 606348"/>
              <a:gd name="connsiteY76" fmla="*/ 81720 h 228263"/>
              <a:gd name="connsiteX77" fmla="*/ 0 w 606348"/>
              <a:gd name="connsiteY77" fmla="*/ 40276 h 228263"/>
              <a:gd name="connsiteX78" fmla="*/ 2605 w 606348"/>
              <a:gd name="connsiteY78" fmla="*/ 37686 h 228263"/>
              <a:gd name="connsiteX79" fmla="*/ 5210 w 606348"/>
              <a:gd name="connsiteY79" fmla="*/ 32506 h 228263"/>
              <a:gd name="connsiteX80" fmla="*/ 2605 w 606348"/>
              <a:gd name="connsiteY80" fmla="*/ 29916 h 228263"/>
              <a:gd name="connsiteX81" fmla="*/ 2605 w 606348"/>
              <a:gd name="connsiteY81" fmla="*/ 24735 h 228263"/>
              <a:gd name="connsiteX82" fmla="*/ 521305 w 606348"/>
              <a:gd name="connsiteY82" fmla="*/ 0 h 228263"/>
              <a:gd name="connsiteX83" fmla="*/ 526459 w 606348"/>
              <a:gd name="connsiteY83" fmla="*/ 7782 h 228263"/>
              <a:gd name="connsiteX84" fmla="*/ 529036 w 606348"/>
              <a:gd name="connsiteY84" fmla="*/ 0 h 228263"/>
              <a:gd name="connsiteX85" fmla="*/ 536768 w 606348"/>
              <a:gd name="connsiteY85" fmla="*/ 25939 h 228263"/>
              <a:gd name="connsiteX86" fmla="*/ 539345 w 606348"/>
              <a:gd name="connsiteY86" fmla="*/ 25939 h 228263"/>
              <a:gd name="connsiteX87" fmla="*/ 541922 w 606348"/>
              <a:gd name="connsiteY87" fmla="*/ 23345 h 228263"/>
              <a:gd name="connsiteX88" fmla="*/ 552230 w 606348"/>
              <a:gd name="connsiteY88" fmla="*/ 28533 h 228263"/>
              <a:gd name="connsiteX89" fmla="*/ 557384 w 606348"/>
              <a:gd name="connsiteY89" fmla="*/ 33721 h 228263"/>
              <a:gd name="connsiteX90" fmla="*/ 559961 w 606348"/>
              <a:gd name="connsiteY90" fmla="*/ 38909 h 228263"/>
              <a:gd name="connsiteX91" fmla="*/ 559961 w 606348"/>
              <a:gd name="connsiteY91" fmla="*/ 44096 h 228263"/>
              <a:gd name="connsiteX92" fmla="*/ 562538 w 606348"/>
              <a:gd name="connsiteY92" fmla="*/ 46690 h 228263"/>
              <a:gd name="connsiteX93" fmla="*/ 562538 w 606348"/>
              <a:gd name="connsiteY93" fmla="*/ 49284 h 228263"/>
              <a:gd name="connsiteX94" fmla="*/ 567692 w 606348"/>
              <a:gd name="connsiteY94" fmla="*/ 49284 h 228263"/>
              <a:gd name="connsiteX95" fmla="*/ 572846 w 606348"/>
              <a:gd name="connsiteY95" fmla="*/ 51878 h 228263"/>
              <a:gd name="connsiteX96" fmla="*/ 580577 w 606348"/>
              <a:gd name="connsiteY96" fmla="*/ 51878 h 228263"/>
              <a:gd name="connsiteX97" fmla="*/ 585732 w 606348"/>
              <a:gd name="connsiteY97" fmla="*/ 54472 h 228263"/>
              <a:gd name="connsiteX98" fmla="*/ 593463 w 606348"/>
              <a:gd name="connsiteY98" fmla="*/ 62254 h 228263"/>
              <a:gd name="connsiteX99" fmla="*/ 596040 w 606348"/>
              <a:gd name="connsiteY99" fmla="*/ 67441 h 228263"/>
              <a:gd name="connsiteX100" fmla="*/ 606348 w 606348"/>
              <a:gd name="connsiteY100" fmla="*/ 70035 h 228263"/>
              <a:gd name="connsiteX101" fmla="*/ 596040 w 606348"/>
              <a:gd name="connsiteY101" fmla="*/ 83005 h 228263"/>
              <a:gd name="connsiteX102" fmla="*/ 593463 w 606348"/>
              <a:gd name="connsiteY102" fmla="*/ 83005 h 228263"/>
              <a:gd name="connsiteX103" fmla="*/ 590886 w 606348"/>
              <a:gd name="connsiteY103" fmla="*/ 80411 h 228263"/>
              <a:gd name="connsiteX104" fmla="*/ 585732 w 606348"/>
              <a:gd name="connsiteY104" fmla="*/ 80411 h 228263"/>
              <a:gd name="connsiteX105" fmla="*/ 578000 w 606348"/>
              <a:gd name="connsiteY105" fmla="*/ 77817 h 228263"/>
              <a:gd name="connsiteX106" fmla="*/ 572846 w 606348"/>
              <a:gd name="connsiteY106" fmla="*/ 77817 h 228263"/>
              <a:gd name="connsiteX107" fmla="*/ 570269 w 606348"/>
              <a:gd name="connsiteY107" fmla="*/ 80411 h 228263"/>
              <a:gd name="connsiteX108" fmla="*/ 570269 w 606348"/>
              <a:gd name="connsiteY108" fmla="*/ 83005 h 228263"/>
              <a:gd name="connsiteX109" fmla="*/ 575423 w 606348"/>
              <a:gd name="connsiteY109" fmla="*/ 93380 h 228263"/>
              <a:gd name="connsiteX110" fmla="*/ 578000 w 606348"/>
              <a:gd name="connsiteY110" fmla="*/ 95974 h 228263"/>
              <a:gd name="connsiteX111" fmla="*/ 580577 w 606348"/>
              <a:gd name="connsiteY111" fmla="*/ 101162 h 228263"/>
              <a:gd name="connsiteX112" fmla="*/ 583155 w 606348"/>
              <a:gd name="connsiteY112" fmla="*/ 103756 h 228263"/>
              <a:gd name="connsiteX113" fmla="*/ 565115 w 606348"/>
              <a:gd name="connsiteY113" fmla="*/ 103756 h 228263"/>
              <a:gd name="connsiteX114" fmla="*/ 559961 w 606348"/>
              <a:gd name="connsiteY114" fmla="*/ 101162 h 228263"/>
              <a:gd name="connsiteX115" fmla="*/ 557384 w 606348"/>
              <a:gd name="connsiteY115" fmla="*/ 95974 h 228263"/>
              <a:gd name="connsiteX116" fmla="*/ 552230 w 606348"/>
              <a:gd name="connsiteY116" fmla="*/ 93380 h 228263"/>
              <a:gd name="connsiteX117" fmla="*/ 557384 w 606348"/>
              <a:gd name="connsiteY117" fmla="*/ 119319 h 228263"/>
              <a:gd name="connsiteX118" fmla="*/ 549653 w 606348"/>
              <a:gd name="connsiteY118" fmla="*/ 121913 h 228263"/>
              <a:gd name="connsiteX119" fmla="*/ 547076 w 606348"/>
              <a:gd name="connsiteY119" fmla="*/ 119319 h 228263"/>
              <a:gd name="connsiteX120" fmla="*/ 541922 w 606348"/>
              <a:gd name="connsiteY120" fmla="*/ 116726 h 228263"/>
              <a:gd name="connsiteX121" fmla="*/ 531613 w 606348"/>
              <a:gd name="connsiteY121" fmla="*/ 106350 h 228263"/>
              <a:gd name="connsiteX122" fmla="*/ 490381 w 606348"/>
              <a:gd name="connsiteY122" fmla="*/ 106350 h 228263"/>
              <a:gd name="connsiteX123" fmla="*/ 487804 w 606348"/>
              <a:gd name="connsiteY123" fmla="*/ 108944 h 228263"/>
              <a:gd name="connsiteX124" fmla="*/ 485227 w 606348"/>
              <a:gd name="connsiteY124" fmla="*/ 114132 h 228263"/>
              <a:gd name="connsiteX125" fmla="*/ 485227 w 606348"/>
              <a:gd name="connsiteY125" fmla="*/ 137477 h 228263"/>
              <a:gd name="connsiteX126" fmla="*/ 482649 w 606348"/>
              <a:gd name="connsiteY126" fmla="*/ 145258 h 228263"/>
              <a:gd name="connsiteX127" fmla="*/ 482649 w 606348"/>
              <a:gd name="connsiteY127" fmla="*/ 147852 h 228263"/>
              <a:gd name="connsiteX128" fmla="*/ 480072 w 606348"/>
              <a:gd name="connsiteY128" fmla="*/ 153040 h 228263"/>
              <a:gd name="connsiteX129" fmla="*/ 472341 w 606348"/>
              <a:gd name="connsiteY129" fmla="*/ 153040 h 228263"/>
              <a:gd name="connsiteX130" fmla="*/ 469764 w 606348"/>
              <a:gd name="connsiteY130" fmla="*/ 155634 h 228263"/>
              <a:gd name="connsiteX131" fmla="*/ 469764 w 606348"/>
              <a:gd name="connsiteY131" fmla="*/ 166010 h 228263"/>
              <a:gd name="connsiteX132" fmla="*/ 472341 w 606348"/>
              <a:gd name="connsiteY132" fmla="*/ 168603 h 228263"/>
              <a:gd name="connsiteX133" fmla="*/ 474918 w 606348"/>
              <a:gd name="connsiteY133" fmla="*/ 173791 h 228263"/>
              <a:gd name="connsiteX134" fmla="*/ 459456 w 606348"/>
              <a:gd name="connsiteY134" fmla="*/ 186761 h 228263"/>
              <a:gd name="connsiteX135" fmla="*/ 462033 w 606348"/>
              <a:gd name="connsiteY135" fmla="*/ 191949 h 228263"/>
              <a:gd name="connsiteX136" fmla="*/ 449148 w 606348"/>
              <a:gd name="connsiteY136" fmla="*/ 207512 h 228263"/>
              <a:gd name="connsiteX137" fmla="*/ 438840 w 606348"/>
              <a:gd name="connsiteY137" fmla="*/ 207512 h 228263"/>
              <a:gd name="connsiteX138" fmla="*/ 436263 w 606348"/>
              <a:gd name="connsiteY138" fmla="*/ 210106 h 228263"/>
              <a:gd name="connsiteX139" fmla="*/ 431108 w 606348"/>
              <a:gd name="connsiteY139" fmla="*/ 212700 h 228263"/>
              <a:gd name="connsiteX140" fmla="*/ 425954 w 606348"/>
              <a:gd name="connsiteY140" fmla="*/ 217888 h 228263"/>
              <a:gd name="connsiteX141" fmla="*/ 423377 w 606348"/>
              <a:gd name="connsiteY141" fmla="*/ 217888 h 228263"/>
              <a:gd name="connsiteX142" fmla="*/ 420800 w 606348"/>
              <a:gd name="connsiteY142" fmla="*/ 215294 h 228263"/>
              <a:gd name="connsiteX143" fmla="*/ 410492 w 606348"/>
              <a:gd name="connsiteY143" fmla="*/ 210106 h 228263"/>
              <a:gd name="connsiteX144" fmla="*/ 405338 w 606348"/>
              <a:gd name="connsiteY144" fmla="*/ 204918 h 228263"/>
              <a:gd name="connsiteX145" fmla="*/ 387299 w 606348"/>
              <a:gd name="connsiteY145" fmla="*/ 204918 h 228263"/>
              <a:gd name="connsiteX146" fmla="*/ 384722 w 606348"/>
              <a:gd name="connsiteY146" fmla="*/ 210106 h 228263"/>
              <a:gd name="connsiteX147" fmla="*/ 371836 w 606348"/>
              <a:gd name="connsiteY147" fmla="*/ 223075 h 228263"/>
              <a:gd name="connsiteX148" fmla="*/ 361528 w 606348"/>
              <a:gd name="connsiteY148" fmla="*/ 223075 h 228263"/>
              <a:gd name="connsiteX149" fmla="*/ 353797 w 606348"/>
              <a:gd name="connsiteY149" fmla="*/ 220481 h 228263"/>
              <a:gd name="connsiteX150" fmla="*/ 343489 w 606348"/>
              <a:gd name="connsiteY150" fmla="*/ 220481 h 228263"/>
              <a:gd name="connsiteX151" fmla="*/ 335758 w 606348"/>
              <a:gd name="connsiteY151" fmla="*/ 228263 h 228263"/>
              <a:gd name="connsiteX152" fmla="*/ 333180 w 606348"/>
              <a:gd name="connsiteY152" fmla="*/ 228263 h 228263"/>
              <a:gd name="connsiteX153" fmla="*/ 322872 w 606348"/>
              <a:gd name="connsiteY153" fmla="*/ 223075 h 228263"/>
              <a:gd name="connsiteX154" fmla="*/ 320295 w 606348"/>
              <a:gd name="connsiteY154" fmla="*/ 220481 h 228263"/>
              <a:gd name="connsiteX155" fmla="*/ 315141 w 606348"/>
              <a:gd name="connsiteY155" fmla="*/ 217888 h 228263"/>
              <a:gd name="connsiteX156" fmla="*/ 309987 w 606348"/>
              <a:gd name="connsiteY156" fmla="*/ 212700 h 228263"/>
              <a:gd name="connsiteX157" fmla="*/ 309987 w 606348"/>
              <a:gd name="connsiteY157" fmla="*/ 204918 h 228263"/>
              <a:gd name="connsiteX158" fmla="*/ 315141 w 606348"/>
              <a:gd name="connsiteY158" fmla="*/ 199730 h 228263"/>
              <a:gd name="connsiteX159" fmla="*/ 320295 w 606348"/>
              <a:gd name="connsiteY159" fmla="*/ 197136 h 228263"/>
              <a:gd name="connsiteX160" fmla="*/ 322872 w 606348"/>
              <a:gd name="connsiteY160" fmla="*/ 197136 h 228263"/>
              <a:gd name="connsiteX161" fmla="*/ 328026 w 606348"/>
              <a:gd name="connsiteY161" fmla="*/ 199730 h 228263"/>
              <a:gd name="connsiteX162" fmla="*/ 330603 w 606348"/>
              <a:gd name="connsiteY162" fmla="*/ 202324 h 228263"/>
              <a:gd name="connsiteX163" fmla="*/ 340912 w 606348"/>
              <a:gd name="connsiteY163" fmla="*/ 207512 h 228263"/>
              <a:gd name="connsiteX164" fmla="*/ 346066 w 606348"/>
              <a:gd name="connsiteY164" fmla="*/ 207512 h 228263"/>
              <a:gd name="connsiteX165" fmla="*/ 351220 w 606348"/>
              <a:gd name="connsiteY165" fmla="*/ 204918 h 228263"/>
              <a:gd name="connsiteX166" fmla="*/ 353797 w 606348"/>
              <a:gd name="connsiteY166" fmla="*/ 199730 h 228263"/>
              <a:gd name="connsiteX167" fmla="*/ 353797 w 606348"/>
              <a:gd name="connsiteY167" fmla="*/ 191949 h 228263"/>
              <a:gd name="connsiteX168" fmla="*/ 346066 w 606348"/>
              <a:gd name="connsiteY168" fmla="*/ 184167 h 228263"/>
              <a:gd name="connsiteX169" fmla="*/ 353797 w 606348"/>
              <a:gd name="connsiteY169" fmla="*/ 168603 h 228263"/>
              <a:gd name="connsiteX170" fmla="*/ 358951 w 606348"/>
              <a:gd name="connsiteY170" fmla="*/ 166010 h 228263"/>
              <a:gd name="connsiteX171" fmla="*/ 366682 w 606348"/>
              <a:gd name="connsiteY171" fmla="*/ 158228 h 228263"/>
              <a:gd name="connsiteX172" fmla="*/ 376990 w 606348"/>
              <a:gd name="connsiteY172" fmla="*/ 153040 h 228263"/>
              <a:gd name="connsiteX173" fmla="*/ 379567 w 606348"/>
              <a:gd name="connsiteY173" fmla="*/ 150446 h 228263"/>
              <a:gd name="connsiteX174" fmla="*/ 389876 w 606348"/>
              <a:gd name="connsiteY174" fmla="*/ 147852 h 228263"/>
              <a:gd name="connsiteX175" fmla="*/ 407915 w 606348"/>
              <a:gd name="connsiteY175" fmla="*/ 145258 h 228263"/>
              <a:gd name="connsiteX176" fmla="*/ 423377 w 606348"/>
              <a:gd name="connsiteY176" fmla="*/ 137477 h 228263"/>
              <a:gd name="connsiteX177" fmla="*/ 428531 w 606348"/>
              <a:gd name="connsiteY177" fmla="*/ 132289 h 228263"/>
              <a:gd name="connsiteX178" fmla="*/ 431108 w 606348"/>
              <a:gd name="connsiteY178" fmla="*/ 127101 h 228263"/>
              <a:gd name="connsiteX179" fmla="*/ 436263 w 606348"/>
              <a:gd name="connsiteY179" fmla="*/ 111538 h 228263"/>
              <a:gd name="connsiteX180" fmla="*/ 436263 w 606348"/>
              <a:gd name="connsiteY180" fmla="*/ 106350 h 228263"/>
              <a:gd name="connsiteX181" fmla="*/ 454302 w 606348"/>
              <a:gd name="connsiteY181" fmla="*/ 88193 h 228263"/>
              <a:gd name="connsiteX182" fmla="*/ 454302 w 606348"/>
              <a:gd name="connsiteY182" fmla="*/ 77817 h 228263"/>
              <a:gd name="connsiteX183" fmla="*/ 456879 w 606348"/>
              <a:gd name="connsiteY183" fmla="*/ 72629 h 228263"/>
              <a:gd name="connsiteX184" fmla="*/ 456879 w 606348"/>
              <a:gd name="connsiteY184" fmla="*/ 67441 h 228263"/>
              <a:gd name="connsiteX185" fmla="*/ 462033 w 606348"/>
              <a:gd name="connsiteY185" fmla="*/ 64848 h 228263"/>
              <a:gd name="connsiteX186" fmla="*/ 464610 w 606348"/>
              <a:gd name="connsiteY186" fmla="*/ 64848 h 228263"/>
              <a:gd name="connsiteX187" fmla="*/ 472341 w 606348"/>
              <a:gd name="connsiteY187" fmla="*/ 67441 h 228263"/>
              <a:gd name="connsiteX188" fmla="*/ 477495 w 606348"/>
              <a:gd name="connsiteY188" fmla="*/ 67441 h 228263"/>
              <a:gd name="connsiteX189" fmla="*/ 485227 w 606348"/>
              <a:gd name="connsiteY189" fmla="*/ 70035 h 228263"/>
              <a:gd name="connsiteX190" fmla="*/ 490381 w 606348"/>
              <a:gd name="connsiteY190" fmla="*/ 70035 h 228263"/>
              <a:gd name="connsiteX191" fmla="*/ 485227 w 606348"/>
              <a:gd name="connsiteY191" fmla="*/ 54472 h 228263"/>
              <a:gd name="connsiteX192" fmla="*/ 498112 w 606348"/>
              <a:gd name="connsiteY192" fmla="*/ 49284 h 228263"/>
              <a:gd name="connsiteX193" fmla="*/ 498112 w 606348"/>
              <a:gd name="connsiteY193" fmla="*/ 41502 h 228263"/>
              <a:gd name="connsiteX194" fmla="*/ 503266 w 606348"/>
              <a:gd name="connsiteY194" fmla="*/ 31127 h 228263"/>
              <a:gd name="connsiteX195" fmla="*/ 508420 w 606348"/>
              <a:gd name="connsiteY195" fmla="*/ 28533 h 228263"/>
              <a:gd name="connsiteX196" fmla="*/ 510997 w 606348"/>
              <a:gd name="connsiteY196" fmla="*/ 28533 h 228263"/>
              <a:gd name="connsiteX197" fmla="*/ 516151 w 606348"/>
              <a:gd name="connsiteY197" fmla="*/ 25939 h 22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606348" h="228263">
                <a:moveTo>
                  <a:pt x="5210" y="22145"/>
                </a:moveTo>
                <a:lnTo>
                  <a:pt x="10420" y="22145"/>
                </a:lnTo>
                <a:lnTo>
                  <a:pt x="13025" y="27326"/>
                </a:lnTo>
                <a:lnTo>
                  <a:pt x="13025" y="29916"/>
                </a:lnTo>
                <a:lnTo>
                  <a:pt x="20840" y="29916"/>
                </a:lnTo>
                <a:lnTo>
                  <a:pt x="26049" y="32506"/>
                </a:lnTo>
                <a:lnTo>
                  <a:pt x="28654" y="35096"/>
                </a:lnTo>
                <a:lnTo>
                  <a:pt x="28654" y="40276"/>
                </a:lnTo>
                <a:lnTo>
                  <a:pt x="33864" y="40276"/>
                </a:lnTo>
                <a:lnTo>
                  <a:pt x="33864" y="45457"/>
                </a:lnTo>
                <a:lnTo>
                  <a:pt x="28654" y="50637"/>
                </a:lnTo>
                <a:lnTo>
                  <a:pt x="28654" y="53227"/>
                </a:lnTo>
                <a:lnTo>
                  <a:pt x="31259" y="55818"/>
                </a:lnTo>
                <a:lnTo>
                  <a:pt x="39074" y="55818"/>
                </a:lnTo>
                <a:lnTo>
                  <a:pt x="39074" y="53227"/>
                </a:lnTo>
                <a:lnTo>
                  <a:pt x="44284" y="53227"/>
                </a:lnTo>
                <a:lnTo>
                  <a:pt x="46889" y="50637"/>
                </a:lnTo>
                <a:lnTo>
                  <a:pt x="49494" y="50637"/>
                </a:lnTo>
                <a:lnTo>
                  <a:pt x="57309" y="58408"/>
                </a:lnTo>
                <a:lnTo>
                  <a:pt x="59914" y="55818"/>
                </a:lnTo>
                <a:lnTo>
                  <a:pt x="59914" y="53227"/>
                </a:lnTo>
                <a:lnTo>
                  <a:pt x="62519" y="48047"/>
                </a:lnTo>
                <a:lnTo>
                  <a:pt x="65124" y="45457"/>
                </a:lnTo>
                <a:lnTo>
                  <a:pt x="67728" y="40276"/>
                </a:lnTo>
                <a:lnTo>
                  <a:pt x="78148" y="50637"/>
                </a:lnTo>
                <a:lnTo>
                  <a:pt x="83358" y="53227"/>
                </a:lnTo>
                <a:lnTo>
                  <a:pt x="88568" y="58408"/>
                </a:lnTo>
                <a:lnTo>
                  <a:pt x="96383" y="60998"/>
                </a:lnTo>
                <a:lnTo>
                  <a:pt x="106803" y="71359"/>
                </a:lnTo>
                <a:lnTo>
                  <a:pt x="109408" y="76539"/>
                </a:lnTo>
                <a:lnTo>
                  <a:pt x="109408" y="130933"/>
                </a:lnTo>
                <a:lnTo>
                  <a:pt x="106803" y="133523"/>
                </a:lnTo>
                <a:lnTo>
                  <a:pt x="106803" y="138704"/>
                </a:lnTo>
                <a:lnTo>
                  <a:pt x="109408" y="141294"/>
                </a:lnTo>
                <a:lnTo>
                  <a:pt x="112012" y="146474"/>
                </a:lnTo>
                <a:lnTo>
                  <a:pt x="112012" y="156835"/>
                </a:lnTo>
                <a:lnTo>
                  <a:pt x="114617" y="159425"/>
                </a:lnTo>
                <a:lnTo>
                  <a:pt x="117222" y="164606"/>
                </a:lnTo>
                <a:lnTo>
                  <a:pt x="127642" y="174966"/>
                </a:lnTo>
                <a:lnTo>
                  <a:pt x="132852" y="185327"/>
                </a:lnTo>
                <a:lnTo>
                  <a:pt x="132852" y="198278"/>
                </a:lnTo>
                <a:lnTo>
                  <a:pt x="130247" y="203459"/>
                </a:lnTo>
                <a:lnTo>
                  <a:pt x="130247" y="208639"/>
                </a:lnTo>
                <a:lnTo>
                  <a:pt x="109408" y="211229"/>
                </a:lnTo>
                <a:lnTo>
                  <a:pt x="98988" y="195688"/>
                </a:lnTo>
                <a:lnTo>
                  <a:pt x="96383" y="195688"/>
                </a:lnTo>
                <a:lnTo>
                  <a:pt x="93778" y="193098"/>
                </a:lnTo>
                <a:lnTo>
                  <a:pt x="88568" y="193098"/>
                </a:lnTo>
                <a:lnTo>
                  <a:pt x="85963" y="190508"/>
                </a:lnTo>
                <a:lnTo>
                  <a:pt x="80753" y="187917"/>
                </a:lnTo>
                <a:lnTo>
                  <a:pt x="78148" y="187917"/>
                </a:lnTo>
                <a:lnTo>
                  <a:pt x="75543" y="185327"/>
                </a:lnTo>
                <a:lnTo>
                  <a:pt x="75543" y="182737"/>
                </a:lnTo>
                <a:lnTo>
                  <a:pt x="72938" y="180147"/>
                </a:lnTo>
                <a:lnTo>
                  <a:pt x="72938" y="174966"/>
                </a:lnTo>
                <a:lnTo>
                  <a:pt x="70333" y="174966"/>
                </a:lnTo>
                <a:lnTo>
                  <a:pt x="62519" y="167196"/>
                </a:lnTo>
                <a:lnTo>
                  <a:pt x="57309" y="164606"/>
                </a:lnTo>
                <a:lnTo>
                  <a:pt x="49494" y="159425"/>
                </a:lnTo>
                <a:lnTo>
                  <a:pt x="44284" y="156835"/>
                </a:lnTo>
                <a:lnTo>
                  <a:pt x="41679" y="154245"/>
                </a:lnTo>
                <a:lnTo>
                  <a:pt x="36469" y="143884"/>
                </a:lnTo>
                <a:lnTo>
                  <a:pt x="36469" y="130933"/>
                </a:lnTo>
                <a:lnTo>
                  <a:pt x="39074" y="125753"/>
                </a:lnTo>
                <a:lnTo>
                  <a:pt x="39074" y="120572"/>
                </a:lnTo>
                <a:lnTo>
                  <a:pt x="36469" y="123163"/>
                </a:lnTo>
                <a:lnTo>
                  <a:pt x="28654" y="123163"/>
                </a:lnTo>
                <a:lnTo>
                  <a:pt x="26049" y="120572"/>
                </a:lnTo>
                <a:lnTo>
                  <a:pt x="23444" y="115392"/>
                </a:lnTo>
                <a:lnTo>
                  <a:pt x="20840" y="107621"/>
                </a:lnTo>
                <a:lnTo>
                  <a:pt x="20840" y="99851"/>
                </a:lnTo>
                <a:lnTo>
                  <a:pt x="23444" y="94670"/>
                </a:lnTo>
                <a:lnTo>
                  <a:pt x="23444" y="81720"/>
                </a:lnTo>
                <a:lnTo>
                  <a:pt x="18235" y="79129"/>
                </a:lnTo>
                <a:lnTo>
                  <a:pt x="10420" y="79129"/>
                </a:lnTo>
                <a:lnTo>
                  <a:pt x="7815" y="81720"/>
                </a:lnTo>
                <a:lnTo>
                  <a:pt x="2605" y="81720"/>
                </a:lnTo>
                <a:lnTo>
                  <a:pt x="0" y="40276"/>
                </a:lnTo>
                <a:lnTo>
                  <a:pt x="2605" y="37686"/>
                </a:lnTo>
                <a:lnTo>
                  <a:pt x="5210" y="32506"/>
                </a:lnTo>
                <a:lnTo>
                  <a:pt x="2605" y="29916"/>
                </a:lnTo>
                <a:lnTo>
                  <a:pt x="2605" y="24735"/>
                </a:lnTo>
                <a:close/>
                <a:moveTo>
                  <a:pt x="521305" y="0"/>
                </a:moveTo>
                <a:lnTo>
                  <a:pt x="526459" y="7782"/>
                </a:lnTo>
                <a:lnTo>
                  <a:pt x="529036" y="0"/>
                </a:lnTo>
                <a:lnTo>
                  <a:pt x="536768" y="25939"/>
                </a:lnTo>
                <a:lnTo>
                  <a:pt x="539345" y="25939"/>
                </a:lnTo>
                <a:lnTo>
                  <a:pt x="541922" y="23345"/>
                </a:lnTo>
                <a:lnTo>
                  <a:pt x="552230" y="28533"/>
                </a:lnTo>
                <a:lnTo>
                  <a:pt x="557384" y="33721"/>
                </a:lnTo>
                <a:lnTo>
                  <a:pt x="559961" y="38909"/>
                </a:lnTo>
                <a:lnTo>
                  <a:pt x="559961" y="44096"/>
                </a:lnTo>
                <a:lnTo>
                  <a:pt x="562538" y="46690"/>
                </a:lnTo>
                <a:lnTo>
                  <a:pt x="562538" y="49284"/>
                </a:lnTo>
                <a:lnTo>
                  <a:pt x="567692" y="49284"/>
                </a:lnTo>
                <a:lnTo>
                  <a:pt x="572846" y="51878"/>
                </a:lnTo>
                <a:lnTo>
                  <a:pt x="580577" y="51878"/>
                </a:lnTo>
                <a:lnTo>
                  <a:pt x="585732" y="54472"/>
                </a:lnTo>
                <a:lnTo>
                  <a:pt x="593463" y="62254"/>
                </a:lnTo>
                <a:lnTo>
                  <a:pt x="596040" y="67441"/>
                </a:lnTo>
                <a:lnTo>
                  <a:pt x="606348" y="70035"/>
                </a:lnTo>
                <a:lnTo>
                  <a:pt x="596040" y="83005"/>
                </a:lnTo>
                <a:lnTo>
                  <a:pt x="593463" y="83005"/>
                </a:lnTo>
                <a:lnTo>
                  <a:pt x="590886" y="80411"/>
                </a:lnTo>
                <a:lnTo>
                  <a:pt x="585732" y="80411"/>
                </a:lnTo>
                <a:lnTo>
                  <a:pt x="578000" y="77817"/>
                </a:lnTo>
                <a:lnTo>
                  <a:pt x="572846" y="77817"/>
                </a:lnTo>
                <a:lnTo>
                  <a:pt x="570269" y="80411"/>
                </a:lnTo>
                <a:lnTo>
                  <a:pt x="570269" y="83005"/>
                </a:lnTo>
                <a:lnTo>
                  <a:pt x="575423" y="93380"/>
                </a:lnTo>
                <a:lnTo>
                  <a:pt x="578000" y="95974"/>
                </a:lnTo>
                <a:lnTo>
                  <a:pt x="580577" y="101162"/>
                </a:lnTo>
                <a:lnTo>
                  <a:pt x="583155" y="103756"/>
                </a:lnTo>
                <a:lnTo>
                  <a:pt x="565115" y="103756"/>
                </a:lnTo>
                <a:lnTo>
                  <a:pt x="559961" y="101162"/>
                </a:lnTo>
                <a:lnTo>
                  <a:pt x="557384" y="95974"/>
                </a:lnTo>
                <a:lnTo>
                  <a:pt x="552230" y="93380"/>
                </a:lnTo>
                <a:lnTo>
                  <a:pt x="557384" y="119319"/>
                </a:lnTo>
                <a:lnTo>
                  <a:pt x="549653" y="121913"/>
                </a:lnTo>
                <a:lnTo>
                  <a:pt x="547076" y="119319"/>
                </a:lnTo>
                <a:lnTo>
                  <a:pt x="541922" y="116726"/>
                </a:lnTo>
                <a:lnTo>
                  <a:pt x="531613" y="106350"/>
                </a:lnTo>
                <a:lnTo>
                  <a:pt x="490381" y="106350"/>
                </a:lnTo>
                <a:lnTo>
                  <a:pt x="487804" y="108944"/>
                </a:lnTo>
                <a:lnTo>
                  <a:pt x="485227" y="114132"/>
                </a:lnTo>
                <a:lnTo>
                  <a:pt x="485227" y="137477"/>
                </a:lnTo>
                <a:lnTo>
                  <a:pt x="482649" y="145258"/>
                </a:lnTo>
                <a:lnTo>
                  <a:pt x="482649" y="147852"/>
                </a:lnTo>
                <a:lnTo>
                  <a:pt x="480072" y="153040"/>
                </a:lnTo>
                <a:lnTo>
                  <a:pt x="472341" y="153040"/>
                </a:lnTo>
                <a:lnTo>
                  <a:pt x="469764" y="155634"/>
                </a:lnTo>
                <a:lnTo>
                  <a:pt x="469764" y="166010"/>
                </a:lnTo>
                <a:lnTo>
                  <a:pt x="472341" y="168603"/>
                </a:lnTo>
                <a:lnTo>
                  <a:pt x="474918" y="173791"/>
                </a:lnTo>
                <a:lnTo>
                  <a:pt x="459456" y="186761"/>
                </a:lnTo>
                <a:lnTo>
                  <a:pt x="462033" y="191949"/>
                </a:lnTo>
                <a:lnTo>
                  <a:pt x="449148" y="207512"/>
                </a:lnTo>
                <a:lnTo>
                  <a:pt x="438840" y="207512"/>
                </a:lnTo>
                <a:lnTo>
                  <a:pt x="436263" y="210106"/>
                </a:lnTo>
                <a:lnTo>
                  <a:pt x="431108" y="212700"/>
                </a:lnTo>
                <a:lnTo>
                  <a:pt x="425954" y="217888"/>
                </a:lnTo>
                <a:lnTo>
                  <a:pt x="423377" y="217888"/>
                </a:lnTo>
                <a:lnTo>
                  <a:pt x="420800" y="215294"/>
                </a:lnTo>
                <a:lnTo>
                  <a:pt x="410492" y="210106"/>
                </a:lnTo>
                <a:lnTo>
                  <a:pt x="405338" y="204918"/>
                </a:lnTo>
                <a:lnTo>
                  <a:pt x="387299" y="204918"/>
                </a:lnTo>
                <a:lnTo>
                  <a:pt x="384722" y="210106"/>
                </a:lnTo>
                <a:lnTo>
                  <a:pt x="371836" y="223075"/>
                </a:lnTo>
                <a:lnTo>
                  <a:pt x="361528" y="223075"/>
                </a:lnTo>
                <a:lnTo>
                  <a:pt x="353797" y="220481"/>
                </a:lnTo>
                <a:lnTo>
                  <a:pt x="343489" y="220481"/>
                </a:lnTo>
                <a:lnTo>
                  <a:pt x="335758" y="228263"/>
                </a:lnTo>
                <a:lnTo>
                  <a:pt x="333180" y="228263"/>
                </a:lnTo>
                <a:lnTo>
                  <a:pt x="322872" y="223075"/>
                </a:lnTo>
                <a:lnTo>
                  <a:pt x="320295" y="220481"/>
                </a:lnTo>
                <a:lnTo>
                  <a:pt x="315141" y="217888"/>
                </a:lnTo>
                <a:lnTo>
                  <a:pt x="309987" y="212700"/>
                </a:lnTo>
                <a:lnTo>
                  <a:pt x="309987" y="204918"/>
                </a:lnTo>
                <a:lnTo>
                  <a:pt x="315141" y="199730"/>
                </a:lnTo>
                <a:lnTo>
                  <a:pt x="320295" y="197136"/>
                </a:lnTo>
                <a:lnTo>
                  <a:pt x="322872" y="197136"/>
                </a:lnTo>
                <a:lnTo>
                  <a:pt x="328026" y="199730"/>
                </a:lnTo>
                <a:lnTo>
                  <a:pt x="330603" y="202324"/>
                </a:lnTo>
                <a:lnTo>
                  <a:pt x="340912" y="207512"/>
                </a:lnTo>
                <a:lnTo>
                  <a:pt x="346066" y="207512"/>
                </a:lnTo>
                <a:lnTo>
                  <a:pt x="351220" y="204918"/>
                </a:lnTo>
                <a:lnTo>
                  <a:pt x="353797" y="199730"/>
                </a:lnTo>
                <a:lnTo>
                  <a:pt x="353797" y="191949"/>
                </a:lnTo>
                <a:lnTo>
                  <a:pt x="346066" y="184167"/>
                </a:lnTo>
                <a:lnTo>
                  <a:pt x="353797" y="168603"/>
                </a:lnTo>
                <a:lnTo>
                  <a:pt x="358951" y="166010"/>
                </a:lnTo>
                <a:lnTo>
                  <a:pt x="366682" y="158228"/>
                </a:lnTo>
                <a:lnTo>
                  <a:pt x="376990" y="153040"/>
                </a:lnTo>
                <a:lnTo>
                  <a:pt x="379567" y="150446"/>
                </a:lnTo>
                <a:lnTo>
                  <a:pt x="389876" y="147852"/>
                </a:lnTo>
                <a:lnTo>
                  <a:pt x="407915" y="145258"/>
                </a:lnTo>
                <a:lnTo>
                  <a:pt x="423377" y="137477"/>
                </a:lnTo>
                <a:lnTo>
                  <a:pt x="428531" y="132289"/>
                </a:lnTo>
                <a:lnTo>
                  <a:pt x="431108" y="127101"/>
                </a:lnTo>
                <a:lnTo>
                  <a:pt x="436263" y="111538"/>
                </a:lnTo>
                <a:lnTo>
                  <a:pt x="436263" y="106350"/>
                </a:lnTo>
                <a:lnTo>
                  <a:pt x="454302" y="88193"/>
                </a:lnTo>
                <a:lnTo>
                  <a:pt x="454302" y="77817"/>
                </a:lnTo>
                <a:lnTo>
                  <a:pt x="456879" y="72629"/>
                </a:lnTo>
                <a:lnTo>
                  <a:pt x="456879" y="67441"/>
                </a:lnTo>
                <a:lnTo>
                  <a:pt x="462033" y="64848"/>
                </a:lnTo>
                <a:lnTo>
                  <a:pt x="464610" y="64848"/>
                </a:lnTo>
                <a:lnTo>
                  <a:pt x="472341" y="67441"/>
                </a:lnTo>
                <a:lnTo>
                  <a:pt x="477495" y="67441"/>
                </a:lnTo>
                <a:lnTo>
                  <a:pt x="485227" y="70035"/>
                </a:lnTo>
                <a:lnTo>
                  <a:pt x="490381" y="70035"/>
                </a:lnTo>
                <a:lnTo>
                  <a:pt x="485227" y="54472"/>
                </a:lnTo>
                <a:lnTo>
                  <a:pt x="498112" y="49284"/>
                </a:lnTo>
                <a:lnTo>
                  <a:pt x="498112" y="41502"/>
                </a:lnTo>
                <a:lnTo>
                  <a:pt x="503266" y="31127"/>
                </a:lnTo>
                <a:lnTo>
                  <a:pt x="508420" y="28533"/>
                </a:lnTo>
                <a:lnTo>
                  <a:pt x="510997" y="28533"/>
                </a:lnTo>
                <a:lnTo>
                  <a:pt x="516151" y="25939"/>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3" name="Malawi" descr="© INSCALE GmbH, 05.05.2010&#10;http://www.presentationload.com/">
            <a:extLst>
              <a:ext uri="{FF2B5EF4-FFF2-40B4-BE49-F238E27FC236}">
                <a16:creationId xmlns:a16="http://schemas.microsoft.com/office/drawing/2014/main" id="{9F0A5D12-026E-43D5-8CE4-B4005787E0CE}"/>
              </a:ext>
            </a:extLst>
          </p:cNvPr>
          <p:cNvSpPr>
            <a:spLocks/>
          </p:cNvSpPr>
          <p:nvPr/>
        </p:nvSpPr>
        <p:spPr bwMode="gray">
          <a:xfrm>
            <a:off x="6711248" y="4526968"/>
            <a:ext cx="100490" cy="270850"/>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4" name="Madagascar" descr="© INSCALE GmbH, 05.05.2010&#10;http://www.presentationload.com/">
            <a:extLst>
              <a:ext uri="{FF2B5EF4-FFF2-40B4-BE49-F238E27FC236}">
                <a16:creationId xmlns:a16="http://schemas.microsoft.com/office/drawing/2014/main" id="{64A1B722-5D5D-4A7D-B088-B5AA7613DC8E}"/>
              </a:ext>
            </a:extLst>
          </p:cNvPr>
          <p:cNvSpPr>
            <a:spLocks/>
          </p:cNvSpPr>
          <p:nvPr/>
        </p:nvSpPr>
        <p:spPr bwMode="gray">
          <a:xfrm>
            <a:off x="7005905" y="4627472"/>
            <a:ext cx="257187" cy="470153"/>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2" name="Malta" descr="© INSCALE GmbH, 05.05.2010&#10;http://www.presentationload.com/">
            <a:extLst>
              <a:ext uri="{FF2B5EF4-FFF2-40B4-BE49-F238E27FC236}">
                <a16:creationId xmlns:a16="http://schemas.microsoft.com/office/drawing/2014/main" id="{36A8C16C-2DF9-4EE3-AA97-A35D51E7B2C3}"/>
              </a:ext>
            </a:extLst>
          </p:cNvPr>
          <p:cNvSpPr>
            <a:spLocks/>
          </p:cNvSpPr>
          <p:nvPr/>
        </p:nvSpPr>
        <p:spPr bwMode="gray">
          <a:xfrm>
            <a:off x="6138964" y="2939349"/>
            <a:ext cx="13626" cy="11925"/>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5" name="Macedonia" descr="© INSCALE GmbH, 05.05.2010&#10;http://www.presentationload.com/">
            <a:extLst>
              <a:ext uri="{FF2B5EF4-FFF2-40B4-BE49-F238E27FC236}">
                <a16:creationId xmlns:a16="http://schemas.microsoft.com/office/drawing/2014/main" id="{6141A0AB-A7E9-4873-81D6-CA16417C994B}"/>
              </a:ext>
            </a:extLst>
          </p:cNvPr>
          <p:cNvSpPr>
            <a:spLocks/>
          </p:cNvSpPr>
          <p:nvPr/>
        </p:nvSpPr>
        <p:spPr bwMode="gray">
          <a:xfrm>
            <a:off x="6314396" y="2724714"/>
            <a:ext cx="71535" cy="54511"/>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3" name="Luxembourg" descr="© INSCALE GmbH, 05.05.2010&#10;http://www.presentationload.com/">
            <a:extLst>
              <a:ext uri="{FF2B5EF4-FFF2-40B4-BE49-F238E27FC236}">
                <a16:creationId xmlns:a16="http://schemas.microsoft.com/office/drawing/2014/main" id="{28DFE814-1662-4B79-9784-1F3AD25BE1BC}"/>
              </a:ext>
            </a:extLst>
          </p:cNvPr>
          <p:cNvSpPr>
            <a:spLocks/>
          </p:cNvSpPr>
          <p:nvPr/>
        </p:nvSpPr>
        <p:spPr bwMode="gray">
          <a:xfrm>
            <a:off x="5903919" y="2462381"/>
            <a:ext cx="22141" cy="18739"/>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4" name="Lithuania" descr="© INSCALE GmbH, 05.05.2010&#10;http://www.presentationload.com/">
            <a:extLst>
              <a:ext uri="{FF2B5EF4-FFF2-40B4-BE49-F238E27FC236}">
                <a16:creationId xmlns:a16="http://schemas.microsoft.com/office/drawing/2014/main" id="{61CC649A-D4AD-4169-8F90-186362C8987F}"/>
              </a:ext>
            </a:extLst>
          </p:cNvPr>
          <p:cNvSpPr>
            <a:spLocks/>
          </p:cNvSpPr>
          <p:nvPr/>
        </p:nvSpPr>
        <p:spPr bwMode="gray">
          <a:xfrm>
            <a:off x="6302474" y="2251154"/>
            <a:ext cx="146477" cy="85173"/>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5" name="Liechtenstein" descr="© INSCALE GmbH, 05.05.2010&#10;http://www.presentationload.com/">
            <a:extLst>
              <a:ext uri="{FF2B5EF4-FFF2-40B4-BE49-F238E27FC236}">
                <a16:creationId xmlns:a16="http://schemas.microsoft.com/office/drawing/2014/main" id="{CCA3427C-C4C7-47C5-8180-BA5C19A5EE21}"/>
              </a:ext>
            </a:extLst>
          </p:cNvPr>
          <p:cNvSpPr>
            <a:spLocks/>
          </p:cNvSpPr>
          <p:nvPr/>
        </p:nvSpPr>
        <p:spPr bwMode="gray">
          <a:xfrm>
            <a:off x="6001002" y="2556073"/>
            <a:ext cx="6813" cy="10221"/>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6" name="Libya" descr="© INSCALE GmbH, 05.05.2010&#10;http://www.presentationload.com/">
            <a:extLst>
              <a:ext uri="{FF2B5EF4-FFF2-40B4-BE49-F238E27FC236}">
                <a16:creationId xmlns:a16="http://schemas.microsoft.com/office/drawing/2014/main" id="{920ECA32-9F72-4C10-BC16-738EF0A7D3F8}"/>
              </a:ext>
            </a:extLst>
          </p:cNvPr>
          <p:cNvSpPr>
            <a:spLocks/>
          </p:cNvSpPr>
          <p:nvPr/>
        </p:nvSpPr>
        <p:spPr bwMode="gray">
          <a:xfrm>
            <a:off x="5997596" y="3043260"/>
            <a:ext cx="475199" cy="478671"/>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7" name="Liberia" descr="© INSCALE GmbH, 05.05.2010&#10;http://www.presentationload.com/">
            <a:extLst>
              <a:ext uri="{FF2B5EF4-FFF2-40B4-BE49-F238E27FC236}">
                <a16:creationId xmlns:a16="http://schemas.microsoft.com/office/drawing/2014/main" id="{ED1C19C6-54DA-4DEC-8011-F83EFACE58EA}"/>
              </a:ext>
            </a:extLst>
          </p:cNvPr>
          <p:cNvSpPr>
            <a:spLocks/>
          </p:cNvSpPr>
          <p:nvPr/>
        </p:nvSpPr>
        <p:spPr bwMode="gray">
          <a:xfrm>
            <a:off x="5352074" y="3900096"/>
            <a:ext cx="132852" cy="149904"/>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8" name="Lesotho" descr="© INSCALE GmbH, 05.05.2010&#10;http://www.presentationload.com/">
            <a:extLst>
              <a:ext uri="{FF2B5EF4-FFF2-40B4-BE49-F238E27FC236}">
                <a16:creationId xmlns:a16="http://schemas.microsoft.com/office/drawing/2014/main" id="{CD1CD43D-A069-4FA8-AA3A-EE191A0191CE}"/>
              </a:ext>
            </a:extLst>
          </p:cNvPr>
          <p:cNvSpPr>
            <a:spLocks/>
          </p:cNvSpPr>
          <p:nvPr/>
        </p:nvSpPr>
        <p:spPr bwMode="gray">
          <a:xfrm>
            <a:off x="6522189" y="5196425"/>
            <a:ext cx="71535" cy="69842"/>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49" name="Lebanon" descr="© INSCALE GmbH, 05.05.2010&#10;http://www.presentationload.com/">
            <a:extLst>
              <a:ext uri="{FF2B5EF4-FFF2-40B4-BE49-F238E27FC236}">
                <a16:creationId xmlns:a16="http://schemas.microsoft.com/office/drawing/2014/main" id="{2CC0E5F1-6612-4053-9E96-868531385897}"/>
              </a:ext>
            </a:extLst>
          </p:cNvPr>
          <p:cNvSpPr>
            <a:spLocks/>
          </p:cNvSpPr>
          <p:nvPr/>
        </p:nvSpPr>
        <p:spPr bwMode="gray">
          <a:xfrm>
            <a:off x="6745312" y="2993860"/>
            <a:ext cx="45987" cy="68138"/>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6" name="Latvia" descr="© INSCALE GmbH, 05.05.2010&#10;http://www.presentationload.com/">
            <a:extLst>
              <a:ext uri="{FF2B5EF4-FFF2-40B4-BE49-F238E27FC236}">
                <a16:creationId xmlns:a16="http://schemas.microsoft.com/office/drawing/2014/main" id="{6A8E4C38-A8CC-486C-ACDF-12E6DAF8828D}"/>
              </a:ext>
            </a:extLst>
          </p:cNvPr>
          <p:cNvSpPr>
            <a:spLocks/>
          </p:cNvSpPr>
          <p:nvPr/>
        </p:nvSpPr>
        <p:spPr bwMode="gray">
          <a:xfrm>
            <a:off x="6299067" y="2198347"/>
            <a:ext cx="183948" cy="78359"/>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0" name="Laos" descr="© INSCALE GmbH, 05.05.2010&#10;http://www.presentationload.com/">
            <a:extLst>
              <a:ext uri="{FF2B5EF4-FFF2-40B4-BE49-F238E27FC236}">
                <a16:creationId xmlns:a16="http://schemas.microsoft.com/office/drawing/2014/main" id="{1F5E3F60-0004-438A-A543-10A06AF8B7EB}"/>
              </a:ext>
            </a:extLst>
          </p:cNvPr>
          <p:cNvSpPr>
            <a:spLocks/>
          </p:cNvSpPr>
          <p:nvPr/>
        </p:nvSpPr>
        <p:spPr bwMode="gray">
          <a:xfrm>
            <a:off x="8738086" y="3416316"/>
            <a:ext cx="258890" cy="299808"/>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1" name="Kyrgyzstan" descr="© INSCALE GmbH, 05.05.2010&#10;http://www.presentationload.com/">
            <a:extLst>
              <a:ext uri="{FF2B5EF4-FFF2-40B4-BE49-F238E27FC236}">
                <a16:creationId xmlns:a16="http://schemas.microsoft.com/office/drawing/2014/main" id="{F7D9F66F-AA26-49AA-ACAF-810A18E9A5BD}"/>
              </a:ext>
            </a:extLst>
          </p:cNvPr>
          <p:cNvSpPr>
            <a:spLocks/>
          </p:cNvSpPr>
          <p:nvPr/>
        </p:nvSpPr>
        <p:spPr bwMode="gray">
          <a:xfrm>
            <a:off x="7700821" y="2699163"/>
            <a:ext cx="289548" cy="13457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2" name="Kuwait" descr="© INSCALE GmbH, 05.05.2010&#10;http://www.presentationload.com/">
            <a:extLst>
              <a:ext uri="{FF2B5EF4-FFF2-40B4-BE49-F238E27FC236}">
                <a16:creationId xmlns:a16="http://schemas.microsoft.com/office/drawing/2014/main" id="{E75E923C-C6C1-4EC7-B377-304A5B67A984}"/>
              </a:ext>
            </a:extLst>
          </p:cNvPr>
          <p:cNvSpPr>
            <a:spLocks/>
          </p:cNvSpPr>
          <p:nvPr/>
        </p:nvSpPr>
        <p:spPr bwMode="gray">
          <a:xfrm>
            <a:off x="7102990" y="3153984"/>
            <a:ext cx="59612" cy="52808"/>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98" name="Kosovo" descr="© INSCALE GmbH, 05.05.2010&#10;http://www.presentationload.com/">
            <a:extLst>
              <a:ext uri="{FF2B5EF4-FFF2-40B4-BE49-F238E27FC236}">
                <a16:creationId xmlns:a16="http://schemas.microsoft.com/office/drawing/2014/main" id="{26D9ABE3-CC07-4780-8AF4-2CA1EEA6E733}"/>
              </a:ext>
            </a:extLst>
          </p:cNvPr>
          <p:cNvSpPr>
            <a:spLocks noEditPoints="1"/>
          </p:cNvSpPr>
          <p:nvPr/>
        </p:nvSpPr>
        <p:spPr bwMode="gray">
          <a:xfrm>
            <a:off x="6298861" y="2686893"/>
            <a:ext cx="56134" cy="5655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20" name="Korea, South" descr="© INSCALE GmbH, 05.05.2010&#10;http://www.presentationload.com/">
            <a:extLst>
              <a:ext uri="{FF2B5EF4-FFF2-40B4-BE49-F238E27FC236}">
                <a16:creationId xmlns:a16="http://schemas.microsoft.com/office/drawing/2014/main" id="{57DA2F24-298E-4897-B855-E900005712E8}"/>
              </a:ext>
            </a:extLst>
          </p:cNvPr>
          <p:cNvSpPr>
            <a:spLocks noEditPoints="1"/>
          </p:cNvSpPr>
          <p:nvPr/>
        </p:nvSpPr>
        <p:spPr bwMode="gray">
          <a:xfrm>
            <a:off x="9358061" y="2859287"/>
            <a:ext cx="117522" cy="183973"/>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21" name="Korea, North" descr="© INSCALE GmbH, 05.05.2010&#10;http://www.presentationload.com/">
            <a:extLst>
              <a:ext uri="{FF2B5EF4-FFF2-40B4-BE49-F238E27FC236}">
                <a16:creationId xmlns:a16="http://schemas.microsoft.com/office/drawing/2014/main" id="{0F2965C9-5B1E-4980-A5E4-92609884B0EF}"/>
              </a:ext>
            </a:extLst>
          </p:cNvPr>
          <p:cNvSpPr>
            <a:spLocks/>
          </p:cNvSpPr>
          <p:nvPr/>
        </p:nvSpPr>
        <p:spPr bwMode="gray">
          <a:xfrm>
            <a:off x="9259274" y="2707679"/>
            <a:ext cx="141367" cy="180566"/>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3" name="Kenya" descr="© INSCALE GmbH, 05.05.2010&#10;http://www.presentationload.com/">
            <a:extLst>
              <a:ext uri="{FF2B5EF4-FFF2-40B4-BE49-F238E27FC236}">
                <a16:creationId xmlns:a16="http://schemas.microsoft.com/office/drawing/2014/main" id="{2533647A-1C00-4E15-BBE5-DA5222406101}"/>
              </a:ext>
            </a:extLst>
          </p:cNvPr>
          <p:cNvSpPr>
            <a:spLocks/>
          </p:cNvSpPr>
          <p:nvPr/>
        </p:nvSpPr>
        <p:spPr bwMode="gray">
          <a:xfrm>
            <a:off x="6758938" y="4036372"/>
            <a:ext cx="241858" cy="328767"/>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4" name="Kazakhstan" descr="© INSCALE GmbH, 05.05.2010&#10;http://www.presentationload.com/">
            <a:extLst>
              <a:ext uri="{FF2B5EF4-FFF2-40B4-BE49-F238E27FC236}">
                <a16:creationId xmlns:a16="http://schemas.microsoft.com/office/drawing/2014/main" id="{7E8F812B-E838-47D6-9224-5EAA5B376CE7}"/>
              </a:ext>
            </a:extLst>
          </p:cNvPr>
          <p:cNvSpPr>
            <a:spLocks noEditPoints="1"/>
          </p:cNvSpPr>
          <p:nvPr/>
        </p:nvSpPr>
        <p:spPr bwMode="gray">
          <a:xfrm>
            <a:off x="7005905" y="2286927"/>
            <a:ext cx="1086658" cy="502519"/>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5" name="Jordan" descr="© INSCALE GmbH, 05.05.2010&#10;http://www.presentationload.com/">
            <a:extLst>
              <a:ext uri="{FF2B5EF4-FFF2-40B4-BE49-F238E27FC236}">
                <a16:creationId xmlns:a16="http://schemas.microsoft.com/office/drawing/2014/main" id="{F72516EF-8619-419C-A8A4-DB53570DCF8F}"/>
              </a:ext>
            </a:extLst>
          </p:cNvPr>
          <p:cNvSpPr>
            <a:spLocks/>
          </p:cNvSpPr>
          <p:nvPr/>
        </p:nvSpPr>
        <p:spPr bwMode="gray">
          <a:xfrm>
            <a:off x="6758938" y="3041556"/>
            <a:ext cx="120928" cy="144794"/>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22" name="Japan" descr="© INSCALE GmbH, 05.05.2010&#10;http://www.presentationload.com/">
            <a:extLst>
              <a:ext uri="{FF2B5EF4-FFF2-40B4-BE49-F238E27FC236}">
                <a16:creationId xmlns:a16="http://schemas.microsoft.com/office/drawing/2014/main" id="{83A1CAF7-A862-490C-8B81-692B3841964C}"/>
              </a:ext>
            </a:extLst>
          </p:cNvPr>
          <p:cNvSpPr>
            <a:spLocks noEditPoints="1"/>
          </p:cNvSpPr>
          <p:nvPr/>
        </p:nvSpPr>
        <p:spPr bwMode="gray">
          <a:xfrm>
            <a:off x="9424486" y="2619099"/>
            <a:ext cx="378116" cy="737596"/>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2" name="Jamaica" descr="© INSCALE GmbH, 05.05.2010&#10;http://www.presentationload.com/">
            <a:extLst>
              <a:ext uri="{FF2B5EF4-FFF2-40B4-BE49-F238E27FC236}">
                <a16:creationId xmlns:a16="http://schemas.microsoft.com/office/drawing/2014/main" id="{8478E9D4-D8FB-4CA8-AEC6-A79A6F45259F}"/>
              </a:ext>
            </a:extLst>
          </p:cNvPr>
          <p:cNvSpPr>
            <a:spLocks/>
          </p:cNvSpPr>
          <p:nvPr/>
        </p:nvSpPr>
        <p:spPr bwMode="gray">
          <a:xfrm>
            <a:off x="3337157" y="3559406"/>
            <a:ext cx="68129" cy="22145"/>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60" name="Italy" descr="© INSCALE GmbH, 05.05.2010&#10;http://www.presentationload.com/">
            <a:extLst>
              <a:ext uri="{FF2B5EF4-FFF2-40B4-BE49-F238E27FC236}">
                <a16:creationId xmlns:a16="http://schemas.microsoft.com/office/drawing/2014/main" id="{10E2B53F-2382-4F94-BC68-853F4A9316FC}"/>
              </a:ext>
            </a:extLst>
          </p:cNvPr>
          <p:cNvSpPr>
            <a:spLocks noEditPoints="1"/>
          </p:cNvSpPr>
          <p:nvPr/>
        </p:nvSpPr>
        <p:spPr bwMode="gray">
          <a:xfrm>
            <a:off x="5924357" y="2562887"/>
            <a:ext cx="335535" cy="359429"/>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6" name="Israel" descr="© INSCALE GmbH, 05.05.2010&#10;http://www.presentationload.com/">
            <a:extLst>
              <a:ext uri="{FF2B5EF4-FFF2-40B4-BE49-F238E27FC236}">
                <a16:creationId xmlns:a16="http://schemas.microsoft.com/office/drawing/2014/main" id="{3A2911D4-41BC-426F-9A07-ECB996F0D0E4}"/>
              </a:ext>
            </a:extLst>
          </p:cNvPr>
          <p:cNvSpPr>
            <a:spLocks/>
          </p:cNvSpPr>
          <p:nvPr/>
        </p:nvSpPr>
        <p:spPr bwMode="gray">
          <a:xfrm>
            <a:off x="6733389" y="3036447"/>
            <a:ext cx="44284" cy="137980"/>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7" name="Iraq" descr="© INSCALE GmbH, 05.05.2010&#10;http://www.presentationload.com/">
            <a:extLst>
              <a:ext uri="{FF2B5EF4-FFF2-40B4-BE49-F238E27FC236}">
                <a16:creationId xmlns:a16="http://schemas.microsoft.com/office/drawing/2014/main" id="{5CA59278-BB7A-4AE4-A4E4-32AEDB362EDD}"/>
              </a:ext>
            </a:extLst>
          </p:cNvPr>
          <p:cNvSpPr>
            <a:spLocks/>
          </p:cNvSpPr>
          <p:nvPr/>
        </p:nvSpPr>
        <p:spPr bwMode="gray">
          <a:xfrm>
            <a:off x="6859428" y="2901872"/>
            <a:ext cx="296361" cy="284477"/>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8" name="Iran" descr="© INSCALE GmbH, 05.05.2010&#10;http://www.presentationload.com/">
            <a:extLst>
              <a:ext uri="{FF2B5EF4-FFF2-40B4-BE49-F238E27FC236}">
                <a16:creationId xmlns:a16="http://schemas.microsoft.com/office/drawing/2014/main" id="{BB19265B-925D-4CA5-A68E-D735350F8EC3}"/>
              </a:ext>
            </a:extLst>
          </p:cNvPr>
          <p:cNvSpPr>
            <a:spLocks/>
          </p:cNvSpPr>
          <p:nvPr/>
        </p:nvSpPr>
        <p:spPr bwMode="gray">
          <a:xfrm>
            <a:off x="6985467" y="2814998"/>
            <a:ext cx="621677" cy="509333"/>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7" name="Ireland" descr="© INSCALE GmbH, 05.05.2010&#10;http://www.presentationload.com/">
            <a:extLst>
              <a:ext uri="{FF2B5EF4-FFF2-40B4-BE49-F238E27FC236}">
                <a16:creationId xmlns:a16="http://schemas.microsoft.com/office/drawing/2014/main" id="{D344D343-0C8F-4A7A-BBBB-4350777EAA08}"/>
              </a:ext>
            </a:extLst>
          </p:cNvPr>
          <p:cNvSpPr>
            <a:spLocks/>
          </p:cNvSpPr>
          <p:nvPr/>
        </p:nvSpPr>
        <p:spPr bwMode="gray">
          <a:xfrm>
            <a:off x="5483221" y="2290334"/>
            <a:ext cx="120928" cy="127760"/>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23" name="Indonesia" descr="© INSCALE GmbH, 05.05.2010&#10;http://www.presentationload.com/">
            <a:extLst>
              <a:ext uri="{FF2B5EF4-FFF2-40B4-BE49-F238E27FC236}">
                <a16:creationId xmlns:a16="http://schemas.microsoft.com/office/drawing/2014/main" id="{4485DBB7-39D2-4CB5-9C97-CDDF5C08059C}"/>
              </a:ext>
            </a:extLst>
          </p:cNvPr>
          <p:cNvSpPr>
            <a:spLocks noEditPoints="1"/>
          </p:cNvSpPr>
          <p:nvPr/>
        </p:nvSpPr>
        <p:spPr bwMode="gray">
          <a:xfrm>
            <a:off x="8635893" y="4002303"/>
            <a:ext cx="1410271" cy="562140"/>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24" name="India" descr="© INSCALE GmbH, 05.05.2010&#10;http://www.presentationload.com/">
            <a:extLst>
              <a:ext uri="{FF2B5EF4-FFF2-40B4-BE49-F238E27FC236}">
                <a16:creationId xmlns:a16="http://schemas.microsoft.com/office/drawing/2014/main" id="{F73D14E2-EDE2-433F-AF4F-1DDB41B92C66}"/>
              </a:ext>
            </a:extLst>
          </p:cNvPr>
          <p:cNvSpPr>
            <a:spLocks noEditPoints="1"/>
          </p:cNvSpPr>
          <p:nvPr/>
        </p:nvSpPr>
        <p:spPr bwMode="gray">
          <a:xfrm>
            <a:off x="7772357" y="2946162"/>
            <a:ext cx="843096" cy="1018665"/>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bg1">
              <a:lumMod val="85000"/>
            </a:schemeClr>
          </a:solidFill>
          <a:ln w="3175">
            <a:solidFill>
              <a:srgbClr val="FFC000"/>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59" name="Iceland" descr="© INSCALE GmbH, 05.05.2010&#10;http://www.presentationload.com/">
            <a:extLst>
              <a:ext uri="{FF2B5EF4-FFF2-40B4-BE49-F238E27FC236}">
                <a16:creationId xmlns:a16="http://schemas.microsoft.com/office/drawing/2014/main" id="{1403D387-32B0-4985-947C-33320ADE681A}"/>
              </a:ext>
            </a:extLst>
          </p:cNvPr>
          <p:cNvSpPr>
            <a:spLocks/>
          </p:cNvSpPr>
          <p:nvPr/>
        </p:nvSpPr>
        <p:spPr bwMode="gray">
          <a:xfrm>
            <a:off x="5222628" y="1934312"/>
            <a:ext cx="246967" cy="95393"/>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8" name="Hungary" descr="© INSCALE GmbH, 05.05.2010&#10;http://www.presentationload.com/">
            <a:extLst>
              <a:ext uri="{FF2B5EF4-FFF2-40B4-BE49-F238E27FC236}">
                <a16:creationId xmlns:a16="http://schemas.microsoft.com/office/drawing/2014/main" id="{2513D9BC-8DAF-422E-B594-FE04EF13919C}"/>
              </a:ext>
            </a:extLst>
          </p:cNvPr>
          <p:cNvSpPr>
            <a:spLocks/>
          </p:cNvSpPr>
          <p:nvPr/>
        </p:nvSpPr>
        <p:spPr bwMode="gray">
          <a:xfrm>
            <a:off x="6188357" y="2515190"/>
            <a:ext cx="183948" cy="95393"/>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3" name="Honduras" descr="© INSCALE GmbH, 05.05.2010&#10;http://www.presentationload.com/">
            <a:extLst>
              <a:ext uri="{FF2B5EF4-FFF2-40B4-BE49-F238E27FC236}">
                <a16:creationId xmlns:a16="http://schemas.microsoft.com/office/drawing/2014/main" id="{037E6B5C-A14D-4FA2-B1AD-97926046BD69}"/>
              </a:ext>
            </a:extLst>
          </p:cNvPr>
          <p:cNvSpPr>
            <a:spLocks/>
          </p:cNvSpPr>
          <p:nvPr/>
        </p:nvSpPr>
        <p:spPr bwMode="gray">
          <a:xfrm>
            <a:off x="2993105" y="3642876"/>
            <a:ext cx="192464" cy="105614"/>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4" name="Haiti" descr="© INSCALE GmbH, 05.05.2010&#10;http://www.presentationload.com/">
            <a:extLst>
              <a:ext uri="{FF2B5EF4-FFF2-40B4-BE49-F238E27FC236}">
                <a16:creationId xmlns:a16="http://schemas.microsoft.com/office/drawing/2014/main" id="{A7FA59E3-4E6F-490D-96CF-64EAF1E790EB}"/>
              </a:ext>
            </a:extLst>
          </p:cNvPr>
          <p:cNvSpPr>
            <a:spLocks/>
          </p:cNvSpPr>
          <p:nvPr/>
        </p:nvSpPr>
        <p:spPr bwMode="gray">
          <a:xfrm>
            <a:off x="3464899" y="3508303"/>
            <a:ext cx="85161" cy="66435"/>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0" name="Guyane (French Guiana)" descr="© INSCALE GmbH, 05.05.2010&#10;http://www.presentationload.com/">
            <a:extLst>
              <a:ext uri="{FF2B5EF4-FFF2-40B4-BE49-F238E27FC236}">
                <a16:creationId xmlns:a16="http://schemas.microsoft.com/office/drawing/2014/main" id="{0BFE732B-FB00-497D-8745-13BC84FE2C8E}"/>
              </a:ext>
            </a:extLst>
          </p:cNvPr>
          <p:cNvSpPr>
            <a:spLocks/>
          </p:cNvSpPr>
          <p:nvPr/>
        </p:nvSpPr>
        <p:spPr bwMode="gray">
          <a:xfrm>
            <a:off x="4032073" y="3998897"/>
            <a:ext cx="88568" cy="127760"/>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1" name="Guyana" descr="© INSCALE GmbH, 05.05.2010&#10;http://www.presentationload.com/">
            <a:extLst>
              <a:ext uri="{FF2B5EF4-FFF2-40B4-BE49-F238E27FC236}">
                <a16:creationId xmlns:a16="http://schemas.microsoft.com/office/drawing/2014/main" id="{CD8A940A-4694-4F55-AEFE-C66B1B9270DD}"/>
              </a:ext>
            </a:extLst>
          </p:cNvPr>
          <p:cNvSpPr>
            <a:spLocks/>
          </p:cNvSpPr>
          <p:nvPr/>
        </p:nvSpPr>
        <p:spPr bwMode="gray">
          <a:xfrm>
            <a:off x="3825983" y="3905208"/>
            <a:ext cx="141367" cy="252111"/>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2" name="Guinea-Bissau" descr="© INSCALE GmbH, 05.05.2010&#10;http://www.presentationload.com/">
            <a:extLst>
              <a:ext uri="{FF2B5EF4-FFF2-40B4-BE49-F238E27FC236}">
                <a16:creationId xmlns:a16="http://schemas.microsoft.com/office/drawing/2014/main" id="{08E95F2C-7F3C-49AF-A2E7-ABC576C4EFC3}"/>
              </a:ext>
            </a:extLst>
          </p:cNvPr>
          <p:cNvSpPr>
            <a:spLocks/>
          </p:cNvSpPr>
          <p:nvPr/>
        </p:nvSpPr>
        <p:spPr bwMode="gray">
          <a:xfrm>
            <a:off x="5215815" y="3755304"/>
            <a:ext cx="80051" cy="68138"/>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3" name="Guinea" descr="© INSCALE GmbH, 05.05.2010&#10;http://www.presentationload.com/">
            <a:extLst>
              <a:ext uri="{FF2B5EF4-FFF2-40B4-BE49-F238E27FC236}">
                <a16:creationId xmlns:a16="http://schemas.microsoft.com/office/drawing/2014/main" id="{194667DC-02D4-4136-B4D0-030572C90BC9}"/>
              </a:ext>
            </a:extLst>
          </p:cNvPr>
          <p:cNvSpPr>
            <a:spLocks/>
          </p:cNvSpPr>
          <p:nvPr/>
        </p:nvSpPr>
        <p:spPr bwMode="gray">
          <a:xfrm>
            <a:off x="5254989" y="3758711"/>
            <a:ext cx="224826" cy="190787"/>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5" name="Guatemala" descr="© INSCALE GmbH, 05.05.2010&#10;http://www.presentationload.com/">
            <a:extLst>
              <a:ext uri="{FF2B5EF4-FFF2-40B4-BE49-F238E27FC236}">
                <a16:creationId xmlns:a16="http://schemas.microsoft.com/office/drawing/2014/main" id="{1A737DB8-338D-4E53-9739-EFD8A52CBBBE}"/>
              </a:ext>
            </a:extLst>
          </p:cNvPr>
          <p:cNvSpPr>
            <a:spLocks/>
          </p:cNvSpPr>
          <p:nvPr/>
        </p:nvSpPr>
        <p:spPr bwMode="gray">
          <a:xfrm>
            <a:off x="2902835" y="3576441"/>
            <a:ext cx="127741" cy="144794"/>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79" name="Greenland" descr="© INSCALE GmbH, 05.05.2010&#10;http://www.presentationload.com/">
            <a:extLst>
              <a:ext uri="{FF2B5EF4-FFF2-40B4-BE49-F238E27FC236}">
                <a16:creationId xmlns:a16="http://schemas.microsoft.com/office/drawing/2014/main" id="{50EB5E93-2359-4888-9FB9-9F146940B827}"/>
              </a:ext>
            </a:extLst>
          </p:cNvPr>
          <p:cNvSpPr>
            <a:spLocks noEditPoints="1"/>
          </p:cNvSpPr>
          <p:nvPr/>
        </p:nvSpPr>
        <p:spPr bwMode="gray">
          <a:xfrm>
            <a:off x="4393157" y="1484599"/>
            <a:ext cx="1209290" cy="659237"/>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0" name="Greece" descr="© INSCALE GmbH, 05.05.2010&#10;http://www.presentationload.com/">
            <a:extLst>
              <a:ext uri="{FF2B5EF4-FFF2-40B4-BE49-F238E27FC236}">
                <a16:creationId xmlns:a16="http://schemas.microsoft.com/office/drawing/2014/main" id="{E07B8EEA-7F25-4A38-BF84-39B61D3F612E}"/>
              </a:ext>
            </a:extLst>
          </p:cNvPr>
          <p:cNvSpPr>
            <a:spLocks noEditPoints="1"/>
          </p:cNvSpPr>
          <p:nvPr/>
        </p:nvSpPr>
        <p:spPr bwMode="gray">
          <a:xfrm>
            <a:off x="6312693" y="2746859"/>
            <a:ext cx="229935" cy="238483"/>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4" name="Ghana" descr="© INSCALE GmbH, 05.05.2010&#10;http://www.presentationload.com/">
            <a:extLst>
              <a:ext uri="{FF2B5EF4-FFF2-40B4-BE49-F238E27FC236}">
                <a16:creationId xmlns:a16="http://schemas.microsoft.com/office/drawing/2014/main" id="{F46D92C9-C854-4393-A465-63FCF14C4C38}"/>
              </a:ext>
            </a:extLst>
          </p:cNvPr>
          <p:cNvSpPr>
            <a:spLocks/>
          </p:cNvSpPr>
          <p:nvPr/>
        </p:nvSpPr>
        <p:spPr bwMode="gray">
          <a:xfrm>
            <a:off x="5609260" y="3813221"/>
            <a:ext cx="141367" cy="223153"/>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5" name="Germany" descr="© INSCALE GmbH, 05.05.2010&#10;http://www.presentationload.com/">
            <a:extLst>
              <a:ext uri="{FF2B5EF4-FFF2-40B4-BE49-F238E27FC236}">
                <a16:creationId xmlns:a16="http://schemas.microsoft.com/office/drawing/2014/main" id="{89041644-5447-4C45-B3E6-1C778BAC030A}"/>
              </a:ext>
            </a:extLst>
          </p:cNvPr>
          <p:cNvSpPr>
            <a:spLocks/>
          </p:cNvSpPr>
          <p:nvPr/>
        </p:nvSpPr>
        <p:spPr bwMode="gray">
          <a:xfrm>
            <a:off x="5910732" y="2302257"/>
            <a:ext cx="243561" cy="253815"/>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5" name="Georgia" descr="© INSCALE GmbH, 05.05.2010&#10;http://www.presentationload.com/">
            <a:extLst>
              <a:ext uri="{FF2B5EF4-FFF2-40B4-BE49-F238E27FC236}">
                <a16:creationId xmlns:a16="http://schemas.microsoft.com/office/drawing/2014/main" id="{70EA5CEE-AC37-49BB-8E48-7B11CAA9B4AD}"/>
              </a:ext>
            </a:extLst>
          </p:cNvPr>
          <p:cNvSpPr>
            <a:spLocks/>
          </p:cNvSpPr>
          <p:nvPr/>
        </p:nvSpPr>
        <p:spPr bwMode="gray">
          <a:xfrm>
            <a:off x="6854319" y="2683831"/>
            <a:ext cx="199277" cy="90284"/>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6" name="Gambia" descr="© INSCALE GmbH, 05.05.2010&#10;http://www.presentationload.com/">
            <a:extLst>
              <a:ext uri="{FF2B5EF4-FFF2-40B4-BE49-F238E27FC236}">
                <a16:creationId xmlns:a16="http://schemas.microsoft.com/office/drawing/2014/main" id="{FFEA9781-8B4C-4A1F-9BE3-F997A3009FA1}"/>
              </a:ext>
            </a:extLst>
          </p:cNvPr>
          <p:cNvSpPr>
            <a:spLocks/>
          </p:cNvSpPr>
          <p:nvPr/>
        </p:nvSpPr>
        <p:spPr bwMode="gray">
          <a:xfrm>
            <a:off x="5202190" y="3719530"/>
            <a:ext cx="91974" cy="22145"/>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7" name="Gabon" descr="© INSCALE GmbH, 05.05.2010&#10;http://www.presentationload.com/">
            <a:extLst>
              <a:ext uri="{FF2B5EF4-FFF2-40B4-BE49-F238E27FC236}">
                <a16:creationId xmlns:a16="http://schemas.microsoft.com/office/drawing/2014/main" id="{5ABFF8DC-003F-4D5E-A0DB-659A2196221E}"/>
              </a:ext>
            </a:extLst>
          </p:cNvPr>
          <p:cNvSpPr>
            <a:spLocks/>
          </p:cNvSpPr>
          <p:nvPr/>
        </p:nvSpPr>
        <p:spPr bwMode="gray">
          <a:xfrm>
            <a:off x="5978861" y="4114731"/>
            <a:ext cx="180542" cy="221449"/>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1" name="France" descr="© INSCALE GmbH, 05.05.2010&#10;http://www.presentationload.com/">
            <a:extLst>
              <a:ext uri="{FF2B5EF4-FFF2-40B4-BE49-F238E27FC236}">
                <a16:creationId xmlns:a16="http://schemas.microsoft.com/office/drawing/2014/main" id="{6DD3E79A-E568-40B2-A053-CE80EABBC021}"/>
              </a:ext>
            </a:extLst>
          </p:cNvPr>
          <p:cNvSpPr>
            <a:spLocks noEditPoints="1"/>
          </p:cNvSpPr>
          <p:nvPr/>
        </p:nvSpPr>
        <p:spPr bwMode="gray">
          <a:xfrm>
            <a:off x="5614370" y="2424906"/>
            <a:ext cx="393445" cy="338988"/>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2" name="Finland" descr="© INSCALE GmbH, 05.05.2010&#10;http://www.presentationload.com/">
            <a:extLst>
              <a:ext uri="{FF2B5EF4-FFF2-40B4-BE49-F238E27FC236}">
                <a16:creationId xmlns:a16="http://schemas.microsoft.com/office/drawing/2014/main" id="{715C0C4B-C052-4409-96FC-4DF69A4B3819}"/>
              </a:ext>
            </a:extLst>
          </p:cNvPr>
          <p:cNvSpPr>
            <a:spLocks/>
          </p:cNvSpPr>
          <p:nvPr/>
        </p:nvSpPr>
        <p:spPr bwMode="gray">
          <a:xfrm>
            <a:off x="6259892" y="1830401"/>
            <a:ext cx="272516" cy="310029"/>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8" name="Ethiopia" descr="© INSCALE GmbH, 05.05.2010&#10;http://www.presentationload.com/">
            <a:extLst>
              <a:ext uri="{FF2B5EF4-FFF2-40B4-BE49-F238E27FC236}">
                <a16:creationId xmlns:a16="http://schemas.microsoft.com/office/drawing/2014/main" id="{8BF0C6F8-55F7-453B-8A3E-B99FC1153CA3}"/>
              </a:ext>
            </a:extLst>
          </p:cNvPr>
          <p:cNvSpPr>
            <a:spLocks/>
          </p:cNvSpPr>
          <p:nvPr/>
        </p:nvSpPr>
        <p:spPr bwMode="gray">
          <a:xfrm>
            <a:off x="6726576" y="3682055"/>
            <a:ext cx="456465" cy="398608"/>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3" name="Estonia" descr="© INSCALE GmbH, 05.05.2010&#10;http://www.presentationload.com/">
            <a:extLst>
              <a:ext uri="{FF2B5EF4-FFF2-40B4-BE49-F238E27FC236}">
                <a16:creationId xmlns:a16="http://schemas.microsoft.com/office/drawing/2014/main" id="{91971157-412E-4A7B-84C9-142EA894AFC6}"/>
              </a:ext>
            </a:extLst>
          </p:cNvPr>
          <p:cNvSpPr>
            <a:spLocks noEditPoints="1"/>
          </p:cNvSpPr>
          <p:nvPr/>
        </p:nvSpPr>
        <p:spPr bwMode="gray">
          <a:xfrm>
            <a:off x="6314396" y="2150651"/>
            <a:ext cx="149884" cy="66435"/>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69" name="Eritrea" descr="© INSCALE GmbH, 05.05.2010&#10;http://www.presentationload.com/">
            <a:extLst>
              <a:ext uri="{FF2B5EF4-FFF2-40B4-BE49-F238E27FC236}">
                <a16:creationId xmlns:a16="http://schemas.microsoft.com/office/drawing/2014/main" id="{012B2220-7286-435E-BE36-33492C21A451}"/>
              </a:ext>
            </a:extLst>
          </p:cNvPr>
          <p:cNvSpPr>
            <a:spLocks/>
          </p:cNvSpPr>
          <p:nvPr/>
        </p:nvSpPr>
        <p:spPr bwMode="gray">
          <a:xfrm>
            <a:off x="6821957" y="3571331"/>
            <a:ext cx="207794" cy="197601"/>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0" name="Equatorial Guinea" descr="© INSCALE GmbH, 05.05.2010&#10;http://www.presentationload.com/">
            <a:extLst>
              <a:ext uri="{FF2B5EF4-FFF2-40B4-BE49-F238E27FC236}">
                <a16:creationId xmlns:a16="http://schemas.microsoft.com/office/drawing/2014/main" id="{83E36C3B-441E-4A2D-AA48-A1EEDEB5A835}"/>
              </a:ext>
            </a:extLst>
          </p:cNvPr>
          <p:cNvSpPr>
            <a:spLocks/>
          </p:cNvSpPr>
          <p:nvPr/>
        </p:nvSpPr>
        <p:spPr bwMode="gray">
          <a:xfrm>
            <a:off x="5997596" y="4118139"/>
            <a:ext cx="63019" cy="47697"/>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6" name="El Salvador" descr="© INSCALE GmbH, 05.05.2010&#10;http://www.presentationload.com/">
            <a:extLst>
              <a:ext uri="{FF2B5EF4-FFF2-40B4-BE49-F238E27FC236}">
                <a16:creationId xmlns:a16="http://schemas.microsoft.com/office/drawing/2014/main" id="{B6F27297-4984-4801-ABCC-066966BC1EFC}"/>
              </a:ext>
            </a:extLst>
          </p:cNvPr>
          <p:cNvSpPr>
            <a:spLocks/>
          </p:cNvSpPr>
          <p:nvPr/>
        </p:nvSpPr>
        <p:spPr bwMode="gray">
          <a:xfrm>
            <a:off x="2962447" y="3697386"/>
            <a:ext cx="73238" cy="47697"/>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1" name="Egypt" descr="© INSCALE GmbH, 05.05.2010&#10;http://www.presentationload.com/">
            <a:extLst>
              <a:ext uri="{FF2B5EF4-FFF2-40B4-BE49-F238E27FC236}">
                <a16:creationId xmlns:a16="http://schemas.microsoft.com/office/drawing/2014/main" id="{7464C33F-73DC-4787-A445-5BAB18CBE874}"/>
              </a:ext>
            </a:extLst>
          </p:cNvPr>
          <p:cNvSpPr>
            <a:spLocks/>
          </p:cNvSpPr>
          <p:nvPr/>
        </p:nvSpPr>
        <p:spPr bwMode="gray">
          <a:xfrm>
            <a:off x="6452357" y="3097771"/>
            <a:ext cx="340645" cy="347504"/>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chemeClr val="bg1">
              <a:lumMod val="85000"/>
            </a:schemeClr>
          </a:solidFill>
          <a:ln w="3175">
            <a:solidFill>
              <a:schemeClr val="tx2">
                <a:lumMod val="40000"/>
                <a:lumOff val="60000"/>
              </a:schemeClr>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7" name="Ecuador" descr="© INSCALE GmbH, 05.05.2010&#10;http://www.presentationload.com/">
            <a:extLst>
              <a:ext uri="{FF2B5EF4-FFF2-40B4-BE49-F238E27FC236}">
                <a16:creationId xmlns:a16="http://schemas.microsoft.com/office/drawing/2014/main" id="{833DCAC1-4612-402E-8D9B-277CFB9F6AA7}"/>
              </a:ext>
            </a:extLst>
          </p:cNvPr>
          <p:cNvSpPr>
            <a:spLocks noEditPoints="1"/>
          </p:cNvSpPr>
          <p:nvPr/>
        </p:nvSpPr>
        <p:spPr bwMode="gray">
          <a:xfrm>
            <a:off x="3219635" y="4143691"/>
            <a:ext cx="178838" cy="228263"/>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2" name="East Timor" descr="© INSCALE GmbH, 05.05.2010&#10;http://www.presentationload.com/">
            <a:extLst>
              <a:ext uri="{FF2B5EF4-FFF2-40B4-BE49-F238E27FC236}">
                <a16:creationId xmlns:a16="http://schemas.microsoft.com/office/drawing/2014/main" id="{D0FB870E-25E2-428B-B1FE-B4442E4CF8F4}"/>
              </a:ext>
            </a:extLst>
          </p:cNvPr>
          <p:cNvSpPr>
            <a:spLocks noEditPoints="1"/>
          </p:cNvSpPr>
          <p:nvPr/>
        </p:nvSpPr>
        <p:spPr bwMode="gray">
          <a:xfrm>
            <a:off x="9513054" y="4486084"/>
            <a:ext cx="107303" cy="51104"/>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8" name="Dominican Republic" descr="© INSCALE GmbH, 05.05.2010&#10;http://www.presentationload.com/">
            <a:extLst>
              <a:ext uri="{FF2B5EF4-FFF2-40B4-BE49-F238E27FC236}">
                <a16:creationId xmlns:a16="http://schemas.microsoft.com/office/drawing/2014/main" id="{AF8320CB-EAC3-411E-8455-3AC82A217460}"/>
              </a:ext>
            </a:extLst>
          </p:cNvPr>
          <p:cNvSpPr>
            <a:spLocks/>
          </p:cNvSpPr>
          <p:nvPr/>
        </p:nvSpPr>
        <p:spPr bwMode="gray">
          <a:xfrm>
            <a:off x="3538138" y="3508303"/>
            <a:ext cx="107303" cy="71545"/>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3" name="Djibouti" descr="© INSCALE GmbH, 05.05.2010&#10;http://www.presentationload.com/">
            <a:extLst>
              <a:ext uri="{FF2B5EF4-FFF2-40B4-BE49-F238E27FC236}">
                <a16:creationId xmlns:a16="http://schemas.microsoft.com/office/drawing/2014/main" id="{250DEA15-58BC-40A8-A86F-70A4C1F4FD6A}"/>
              </a:ext>
            </a:extLst>
          </p:cNvPr>
          <p:cNvSpPr>
            <a:spLocks/>
          </p:cNvSpPr>
          <p:nvPr/>
        </p:nvSpPr>
        <p:spPr bwMode="gray">
          <a:xfrm>
            <a:off x="6987170" y="3758711"/>
            <a:ext cx="51097" cy="59621"/>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4" name="Denmark" descr="© INSCALE GmbH, 05.05.2010&#10;http://www.presentationload.com/">
            <a:extLst>
              <a:ext uri="{FF2B5EF4-FFF2-40B4-BE49-F238E27FC236}">
                <a16:creationId xmlns:a16="http://schemas.microsoft.com/office/drawing/2014/main" id="{7ED046E8-8BBF-4BF6-88F0-C89639303CBE}"/>
              </a:ext>
            </a:extLst>
          </p:cNvPr>
          <p:cNvSpPr>
            <a:spLocks noEditPoints="1"/>
          </p:cNvSpPr>
          <p:nvPr/>
        </p:nvSpPr>
        <p:spPr bwMode="gray">
          <a:xfrm>
            <a:off x="5970344" y="2213677"/>
            <a:ext cx="119226" cy="102207"/>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5" name="Czech Republic" descr="© INSCALE GmbH, 05.05.2010&#10;http://www.presentationload.com/">
            <a:extLst>
              <a:ext uri="{FF2B5EF4-FFF2-40B4-BE49-F238E27FC236}">
                <a16:creationId xmlns:a16="http://schemas.microsoft.com/office/drawing/2014/main" id="{8CADB3C6-D318-48E8-9481-BAA14DCBEA60}"/>
              </a:ext>
            </a:extLst>
          </p:cNvPr>
          <p:cNvSpPr>
            <a:spLocks/>
          </p:cNvSpPr>
          <p:nvPr/>
        </p:nvSpPr>
        <p:spPr bwMode="gray">
          <a:xfrm>
            <a:off x="6075944" y="2431720"/>
            <a:ext cx="182245" cy="83470"/>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6" name="Cyprus" descr="© INSCALE GmbH, 05.05.2010&#10;http://www.presentationload.com/">
            <a:extLst>
              <a:ext uri="{FF2B5EF4-FFF2-40B4-BE49-F238E27FC236}">
                <a16:creationId xmlns:a16="http://schemas.microsoft.com/office/drawing/2014/main" id="{15509DEE-2284-4A3B-867A-493CFC6011FD}"/>
              </a:ext>
            </a:extLst>
          </p:cNvPr>
          <p:cNvSpPr>
            <a:spLocks/>
          </p:cNvSpPr>
          <p:nvPr/>
        </p:nvSpPr>
        <p:spPr bwMode="gray">
          <a:xfrm>
            <a:off x="6661854" y="2959791"/>
            <a:ext cx="64723" cy="37476"/>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49" name="Cuba" descr="© INSCALE GmbH, 05.05.2010&#10;http://www.presentationload.com/">
            <a:extLst>
              <a:ext uri="{FF2B5EF4-FFF2-40B4-BE49-F238E27FC236}">
                <a16:creationId xmlns:a16="http://schemas.microsoft.com/office/drawing/2014/main" id="{5FA4D662-FACB-4DCB-8D7C-D471899CC488}"/>
              </a:ext>
            </a:extLst>
          </p:cNvPr>
          <p:cNvSpPr>
            <a:spLocks noEditPoints="1"/>
          </p:cNvSpPr>
          <p:nvPr/>
        </p:nvSpPr>
        <p:spPr bwMode="gray">
          <a:xfrm>
            <a:off x="3161725" y="3390766"/>
            <a:ext cx="318503" cy="117539"/>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7" name="Croatia" descr="© INSCALE GmbH, 05.05.2010&#10;http://www.presentationload.com/">
            <a:extLst>
              <a:ext uri="{FF2B5EF4-FFF2-40B4-BE49-F238E27FC236}">
                <a16:creationId xmlns:a16="http://schemas.microsoft.com/office/drawing/2014/main" id="{513E2E46-FA07-463D-9887-9AD113792BBC}"/>
              </a:ext>
            </a:extLst>
          </p:cNvPr>
          <p:cNvSpPr>
            <a:spLocks/>
          </p:cNvSpPr>
          <p:nvPr/>
        </p:nvSpPr>
        <p:spPr bwMode="gray">
          <a:xfrm>
            <a:off x="6120228" y="2585030"/>
            <a:ext cx="158399" cy="119242"/>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4" name="Côte d'Ivoire" descr="© INSCALE GmbH, 05.05.2010&#10;http://www.presentationload.com/">
            <a:extLst>
              <a:ext uri="{FF2B5EF4-FFF2-40B4-BE49-F238E27FC236}">
                <a16:creationId xmlns:a16="http://schemas.microsoft.com/office/drawing/2014/main" id="{EF1DD6FD-B9E4-4336-A5D7-7BBEF86445EB}"/>
              </a:ext>
            </a:extLst>
          </p:cNvPr>
          <p:cNvSpPr>
            <a:spLocks/>
          </p:cNvSpPr>
          <p:nvPr/>
        </p:nvSpPr>
        <p:spPr bwMode="gray">
          <a:xfrm>
            <a:off x="5445750" y="3826849"/>
            <a:ext cx="189058" cy="223153"/>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50" name="Costa Rica" descr="© INSCALE GmbH, 05.05.2010&#10;http://www.presentationload.com/">
            <a:extLst>
              <a:ext uri="{FF2B5EF4-FFF2-40B4-BE49-F238E27FC236}">
                <a16:creationId xmlns:a16="http://schemas.microsoft.com/office/drawing/2014/main" id="{CDDDD613-D0D5-4B5E-946E-03FC3E1005D0}"/>
              </a:ext>
            </a:extLst>
          </p:cNvPr>
          <p:cNvSpPr>
            <a:spLocks/>
          </p:cNvSpPr>
          <p:nvPr/>
        </p:nvSpPr>
        <p:spPr bwMode="gray">
          <a:xfrm>
            <a:off x="3081673" y="3809814"/>
            <a:ext cx="103896" cy="98800"/>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6" name="Congo (Brazzaville)" descr="© INSCALE GmbH, 05.05.2010&#10;http://www.presentationload.com/">
            <a:extLst>
              <a:ext uri="{FF2B5EF4-FFF2-40B4-BE49-F238E27FC236}">
                <a16:creationId xmlns:a16="http://schemas.microsoft.com/office/drawing/2014/main" id="{721BDA54-B862-4E85-864B-8F6ABB394F77}"/>
              </a:ext>
            </a:extLst>
          </p:cNvPr>
          <p:cNvSpPr>
            <a:spLocks/>
          </p:cNvSpPr>
          <p:nvPr/>
        </p:nvSpPr>
        <p:spPr bwMode="gray">
          <a:xfrm>
            <a:off x="6052099" y="4070441"/>
            <a:ext cx="231639" cy="301512"/>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5" name="Congo" descr="© INSCALE GmbH, 05.05.2010&#10;http://www.presentationload.com/">
            <a:extLst>
              <a:ext uri="{FF2B5EF4-FFF2-40B4-BE49-F238E27FC236}">
                <a16:creationId xmlns:a16="http://schemas.microsoft.com/office/drawing/2014/main" id="{B1135A13-205A-499D-94BB-675465BF0F6D}"/>
              </a:ext>
            </a:extLst>
          </p:cNvPr>
          <p:cNvSpPr>
            <a:spLocks/>
          </p:cNvSpPr>
          <p:nvPr/>
        </p:nvSpPr>
        <p:spPr bwMode="gray">
          <a:xfrm>
            <a:off x="6089570" y="4012524"/>
            <a:ext cx="582503" cy="655830"/>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51" name="Colombia" descr="© INSCALE GmbH, 05.05.2010&#10;http://www.presentationload.com/">
            <a:extLst>
              <a:ext uri="{FF2B5EF4-FFF2-40B4-BE49-F238E27FC236}">
                <a16:creationId xmlns:a16="http://schemas.microsoft.com/office/drawing/2014/main" id="{C70F4CF6-44B0-4D29-89FB-D948DF35B0A7}"/>
              </a:ext>
            </a:extLst>
          </p:cNvPr>
          <p:cNvSpPr>
            <a:spLocks/>
          </p:cNvSpPr>
          <p:nvPr/>
        </p:nvSpPr>
        <p:spPr bwMode="gray">
          <a:xfrm>
            <a:off x="3280951" y="3765524"/>
            <a:ext cx="374710" cy="580878"/>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7" name="Chad" descr="© INSCALE GmbH, 05.05.2010&#10;http://www.presentationload.com/">
            <a:extLst>
              <a:ext uri="{FF2B5EF4-FFF2-40B4-BE49-F238E27FC236}">
                <a16:creationId xmlns:a16="http://schemas.microsoft.com/office/drawing/2014/main" id="{ABD74469-D4C1-4584-9DE5-3DB14D44EFB8}"/>
              </a:ext>
            </a:extLst>
          </p:cNvPr>
          <p:cNvSpPr>
            <a:spLocks/>
          </p:cNvSpPr>
          <p:nvPr/>
        </p:nvSpPr>
        <p:spPr bwMode="gray">
          <a:xfrm>
            <a:off x="6123634" y="3382246"/>
            <a:ext cx="320206" cy="557030"/>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1" name="China">
            <a:extLst>
              <a:ext uri="{FF2B5EF4-FFF2-40B4-BE49-F238E27FC236}">
                <a16:creationId xmlns:a16="http://schemas.microsoft.com/office/drawing/2014/main" id="{DD17940B-CB68-76A6-87E2-CE910F05C8FC}"/>
              </a:ext>
            </a:extLst>
          </p:cNvPr>
          <p:cNvSpPr/>
          <p:nvPr/>
        </p:nvSpPr>
        <p:spPr>
          <a:xfrm>
            <a:off x="7829165" y="2344833"/>
            <a:ext cx="1581150" cy="1219200"/>
          </a:xfrm>
          <a:custGeom>
            <a:avLst/>
            <a:gdLst>
              <a:gd name="connsiteX0" fmla="*/ 1197530 w 1581150"/>
              <a:gd name="connsiteY0" fmla="*/ 1157078 h 1219200"/>
              <a:gd name="connsiteX1" fmla="*/ 1231221 w 1581150"/>
              <a:gd name="connsiteY1" fmla="*/ 1157078 h 1219200"/>
              <a:gd name="connsiteX2" fmla="*/ 1236412 w 1581150"/>
              <a:gd name="connsiteY2" fmla="*/ 1159669 h 1219200"/>
              <a:gd name="connsiteX3" fmla="*/ 1239002 w 1581150"/>
              <a:gd name="connsiteY3" fmla="*/ 1164841 h 1219200"/>
              <a:gd name="connsiteX4" fmla="*/ 1239002 w 1581150"/>
              <a:gd name="connsiteY4" fmla="*/ 1175195 h 1219200"/>
              <a:gd name="connsiteX5" fmla="*/ 1236412 w 1581150"/>
              <a:gd name="connsiteY5" fmla="*/ 1180376 h 1219200"/>
              <a:gd name="connsiteX6" fmla="*/ 1233811 w 1581150"/>
              <a:gd name="connsiteY6" fmla="*/ 1182958 h 1219200"/>
              <a:gd name="connsiteX7" fmla="*/ 1231221 w 1581150"/>
              <a:gd name="connsiteY7" fmla="*/ 1188139 h 1219200"/>
              <a:gd name="connsiteX8" fmla="*/ 1231221 w 1581150"/>
              <a:gd name="connsiteY8" fmla="*/ 1208846 h 1219200"/>
              <a:gd name="connsiteX9" fmla="*/ 1228630 w 1581150"/>
              <a:gd name="connsiteY9" fmla="*/ 1211437 h 1219200"/>
              <a:gd name="connsiteX10" fmla="*/ 1218266 w 1581150"/>
              <a:gd name="connsiteY10" fmla="*/ 1216609 h 1219200"/>
              <a:gd name="connsiteX11" fmla="*/ 1210485 w 1581150"/>
              <a:gd name="connsiteY11" fmla="*/ 1216609 h 1219200"/>
              <a:gd name="connsiteX12" fmla="*/ 1197530 w 1581150"/>
              <a:gd name="connsiteY12" fmla="*/ 1219200 h 1219200"/>
              <a:gd name="connsiteX13" fmla="*/ 1194940 w 1581150"/>
              <a:gd name="connsiteY13" fmla="*/ 1219200 h 1219200"/>
              <a:gd name="connsiteX14" fmla="*/ 1189749 w 1581150"/>
              <a:gd name="connsiteY14" fmla="*/ 1216609 h 1219200"/>
              <a:gd name="connsiteX15" fmla="*/ 1176795 w 1581150"/>
              <a:gd name="connsiteY15" fmla="*/ 1203665 h 1219200"/>
              <a:gd name="connsiteX16" fmla="*/ 1174195 w 1581150"/>
              <a:gd name="connsiteY16" fmla="*/ 1195902 h 1219200"/>
              <a:gd name="connsiteX17" fmla="*/ 1171604 w 1581150"/>
              <a:gd name="connsiteY17" fmla="*/ 1190730 h 1219200"/>
              <a:gd name="connsiteX18" fmla="*/ 1179386 w 1581150"/>
              <a:gd name="connsiteY18" fmla="*/ 1175195 h 1219200"/>
              <a:gd name="connsiteX19" fmla="*/ 1181976 w 1581150"/>
              <a:gd name="connsiteY19" fmla="*/ 1172604 h 1219200"/>
              <a:gd name="connsiteX20" fmla="*/ 1187158 w 1581150"/>
              <a:gd name="connsiteY20" fmla="*/ 1162250 h 1219200"/>
              <a:gd name="connsiteX21" fmla="*/ 1194940 w 1581150"/>
              <a:gd name="connsiteY21" fmla="*/ 1164841 h 1219200"/>
              <a:gd name="connsiteX22" fmla="*/ 1524000 w 1581150"/>
              <a:gd name="connsiteY22" fmla="*/ 971550 h 1219200"/>
              <a:gd name="connsiteX23" fmla="*/ 1543050 w 1581150"/>
              <a:gd name="connsiteY23" fmla="*/ 982561 h 1219200"/>
              <a:gd name="connsiteX24" fmla="*/ 1543050 w 1581150"/>
              <a:gd name="connsiteY24" fmla="*/ 988057 h 1219200"/>
              <a:gd name="connsiteX25" fmla="*/ 1540669 w 1581150"/>
              <a:gd name="connsiteY25" fmla="*/ 996315 h 1219200"/>
              <a:gd name="connsiteX26" fmla="*/ 1540669 w 1581150"/>
              <a:gd name="connsiteY26" fmla="*/ 1010069 h 1219200"/>
              <a:gd name="connsiteX27" fmla="*/ 1538288 w 1581150"/>
              <a:gd name="connsiteY27" fmla="*/ 1015575 h 1219200"/>
              <a:gd name="connsiteX28" fmla="*/ 1535906 w 1581150"/>
              <a:gd name="connsiteY28" fmla="*/ 1018327 h 1219200"/>
              <a:gd name="connsiteX29" fmla="*/ 1535906 w 1581150"/>
              <a:gd name="connsiteY29" fmla="*/ 1059609 h 1219200"/>
              <a:gd name="connsiteX30" fmla="*/ 1531144 w 1581150"/>
              <a:gd name="connsiteY30" fmla="*/ 1070610 h 1219200"/>
              <a:gd name="connsiteX31" fmla="*/ 1528763 w 1581150"/>
              <a:gd name="connsiteY31" fmla="*/ 1073363 h 1219200"/>
              <a:gd name="connsiteX32" fmla="*/ 1528763 w 1581150"/>
              <a:gd name="connsiteY32" fmla="*/ 1095375 h 1219200"/>
              <a:gd name="connsiteX33" fmla="*/ 1519238 w 1581150"/>
              <a:gd name="connsiteY33" fmla="*/ 1089870 h 1219200"/>
              <a:gd name="connsiteX34" fmla="*/ 1514475 w 1581150"/>
              <a:gd name="connsiteY34" fmla="*/ 1078868 h 1219200"/>
              <a:gd name="connsiteX35" fmla="*/ 1512094 w 1581150"/>
              <a:gd name="connsiteY35" fmla="*/ 1076115 h 1219200"/>
              <a:gd name="connsiteX36" fmla="*/ 1512094 w 1581150"/>
              <a:gd name="connsiteY36" fmla="*/ 1073363 h 1219200"/>
              <a:gd name="connsiteX37" fmla="*/ 1509713 w 1581150"/>
              <a:gd name="connsiteY37" fmla="*/ 1067857 h 1219200"/>
              <a:gd name="connsiteX38" fmla="*/ 1504950 w 1581150"/>
              <a:gd name="connsiteY38" fmla="*/ 1065104 h 1219200"/>
              <a:gd name="connsiteX39" fmla="*/ 1502569 w 1581150"/>
              <a:gd name="connsiteY39" fmla="*/ 1059609 h 1219200"/>
              <a:gd name="connsiteX40" fmla="*/ 1497806 w 1581150"/>
              <a:gd name="connsiteY40" fmla="*/ 1054103 h 1219200"/>
              <a:gd name="connsiteX41" fmla="*/ 1495425 w 1581150"/>
              <a:gd name="connsiteY41" fmla="*/ 1048598 h 1219200"/>
              <a:gd name="connsiteX42" fmla="*/ 1495425 w 1581150"/>
              <a:gd name="connsiteY42" fmla="*/ 1040339 h 1219200"/>
              <a:gd name="connsiteX43" fmla="*/ 1500188 w 1581150"/>
              <a:gd name="connsiteY43" fmla="*/ 1023833 h 1219200"/>
              <a:gd name="connsiteX44" fmla="*/ 1507331 w 1581150"/>
              <a:gd name="connsiteY44" fmla="*/ 1007326 h 1219200"/>
              <a:gd name="connsiteX45" fmla="*/ 1512094 w 1581150"/>
              <a:gd name="connsiteY45" fmla="*/ 990810 h 1219200"/>
              <a:gd name="connsiteX46" fmla="*/ 1514475 w 1581150"/>
              <a:gd name="connsiteY46" fmla="*/ 985314 h 1219200"/>
              <a:gd name="connsiteX47" fmla="*/ 1145686 w 1581150"/>
              <a:gd name="connsiteY47" fmla="*/ 0 h 1219200"/>
              <a:gd name="connsiteX48" fmla="*/ 1161240 w 1581150"/>
              <a:gd name="connsiteY48" fmla="*/ 7763 h 1219200"/>
              <a:gd name="connsiteX49" fmla="*/ 1176795 w 1581150"/>
              <a:gd name="connsiteY49" fmla="*/ 18116 h 1219200"/>
              <a:gd name="connsiteX50" fmla="*/ 1207894 w 1581150"/>
              <a:gd name="connsiteY50" fmla="*/ 18116 h 1219200"/>
              <a:gd name="connsiteX51" fmla="*/ 1210485 w 1581150"/>
              <a:gd name="connsiteY51" fmla="*/ 20707 h 1219200"/>
              <a:gd name="connsiteX52" fmla="*/ 1215676 w 1581150"/>
              <a:gd name="connsiteY52" fmla="*/ 23298 h 1219200"/>
              <a:gd name="connsiteX53" fmla="*/ 1218266 w 1581150"/>
              <a:gd name="connsiteY53" fmla="*/ 25889 h 1219200"/>
              <a:gd name="connsiteX54" fmla="*/ 1223448 w 1581150"/>
              <a:gd name="connsiteY54" fmla="*/ 28470 h 1219200"/>
              <a:gd name="connsiteX55" fmla="*/ 1223448 w 1581150"/>
              <a:gd name="connsiteY55" fmla="*/ 33652 h 1219200"/>
              <a:gd name="connsiteX56" fmla="*/ 1226039 w 1581150"/>
              <a:gd name="connsiteY56" fmla="*/ 33652 h 1219200"/>
              <a:gd name="connsiteX57" fmla="*/ 1231221 w 1581150"/>
              <a:gd name="connsiteY57" fmla="*/ 38824 h 1219200"/>
              <a:gd name="connsiteX58" fmla="*/ 1236412 w 1581150"/>
              <a:gd name="connsiteY58" fmla="*/ 41415 h 1219200"/>
              <a:gd name="connsiteX59" fmla="*/ 1241593 w 1581150"/>
              <a:gd name="connsiteY59" fmla="*/ 46596 h 1219200"/>
              <a:gd name="connsiteX60" fmla="*/ 1246775 w 1581150"/>
              <a:gd name="connsiteY60" fmla="*/ 46596 h 1219200"/>
              <a:gd name="connsiteX61" fmla="*/ 1249366 w 1581150"/>
              <a:gd name="connsiteY61" fmla="*/ 49187 h 1219200"/>
              <a:gd name="connsiteX62" fmla="*/ 1251957 w 1581150"/>
              <a:gd name="connsiteY62" fmla="*/ 49187 h 1219200"/>
              <a:gd name="connsiteX63" fmla="*/ 1254557 w 1581150"/>
              <a:gd name="connsiteY63" fmla="*/ 62122 h 1219200"/>
              <a:gd name="connsiteX64" fmla="*/ 1275293 w 1581150"/>
              <a:gd name="connsiteY64" fmla="*/ 72476 h 1219200"/>
              <a:gd name="connsiteX65" fmla="*/ 1280474 w 1581150"/>
              <a:gd name="connsiteY65" fmla="*/ 85420 h 1219200"/>
              <a:gd name="connsiteX66" fmla="*/ 1285656 w 1581150"/>
              <a:gd name="connsiteY66" fmla="*/ 85420 h 1219200"/>
              <a:gd name="connsiteX67" fmla="*/ 1306392 w 1581150"/>
              <a:gd name="connsiteY67" fmla="*/ 95774 h 1219200"/>
              <a:gd name="connsiteX68" fmla="*/ 1308983 w 1581150"/>
              <a:gd name="connsiteY68" fmla="*/ 100955 h 1219200"/>
              <a:gd name="connsiteX69" fmla="*/ 1316764 w 1581150"/>
              <a:gd name="connsiteY69" fmla="*/ 108718 h 1219200"/>
              <a:gd name="connsiteX70" fmla="*/ 1319356 w 1581150"/>
              <a:gd name="connsiteY70" fmla="*/ 113900 h 1219200"/>
              <a:gd name="connsiteX71" fmla="*/ 1324537 w 1581150"/>
              <a:gd name="connsiteY71" fmla="*/ 113900 h 1219200"/>
              <a:gd name="connsiteX72" fmla="*/ 1327128 w 1581150"/>
              <a:gd name="connsiteY72" fmla="*/ 124254 h 1219200"/>
              <a:gd name="connsiteX73" fmla="*/ 1329719 w 1581150"/>
              <a:gd name="connsiteY73" fmla="*/ 124254 h 1219200"/>
              <a:gd name="connsiteX74" fmla="*/ 1332309 w 1581150"/>
              <a:gd name="connsiteY74" fmla="*/ 126835 h 1219200"/>
              <a:gd name="connsiteX75" fmla="*/ 1342682 w 1581150"/>
              <a:gd name="connsiteY75" fmla="*/ 132016 h 1219200"/>
              <a:gd name="connsiteX76" fmla="*/ 1345273 w 1581150"/>
              <a:gd name="connsiteY76" fmla="*/ 134607 h 1219200"/>
              <a:gd name="connsiteX77" fmla="*/ 1350455 w 1581150"/>
              <a:gd name="connsiteY77" fmla="*/ 137189 h 1219200"/>
              <a:gd name="connsiteX78" fmla="*/ 1371190 w 1581150"/>
              <a:gd name="connsiteY78" fmla="*/ 137189 h 1219200"/>
              <a:gd name="connsiteX79" fmla="*/ 1376382 w 1581150"/>
              <a:gd name="connsiteY79" fmla="*/ 139779 h 1219200"/>
              <a:gd name="connsiteX80" fmla="*/ 1378972 w 1581150"/>
              <a:gd name="connsiteY80" fmla="*/ 142370 h 1219200"/>
              <a:gd name="connsiteX81" fmla="*/ 1384154 w 1581150"/>
              <a:gd name="connsiteY81" fmla="*/ 144961 h 1219200"/>
              <a:gd name="connsiteX82" fmla="*/ 1389336 w 1581150"/>
              <a:gd name="connsiteY82" fmla="*/ 139779 h 1219200"/>
              <a:gd name="connsiteX83" fmla="*/ 1394527 w 1581150"/>
              <a:gd name="connsiteY83" fmla="*/ 139779 h 1219200"/>
              <a:gd name="connsiteX84" fmla="*/ 1402299 w 1581150"/>
              <a:gd name="connsiteY84" fmla="*/ 147542 h 1219200"/>
              <a:gd name="connsiteX85" fmla="*/ 1407481 w 1581150"/>
              <a:gd name="connsiteY85" fmla="*/ 150133 h 1219200"/>
              <a:gd name="connsiteX86" fmla="*/ 1415263 w 1581150"/>
              <a:gd name="connsiteY86" fmla="*/ 157905 h 1219200"/>
              <a:gd name="connsiteX87" fmla="*/ 1433408 w 1581150"/>
              <a:gd name="connsiteY87" fmla="*/ 157905 h 1219200"/>
              <a:gd name="connsiteX88" fmla="*/ 1441180 w 1581150"/>
              <a:gd name="connsiteY88" fmla="*/ 170840 h 1219200"/>
              <a:gd name="connsiteX89" fmla="*/ 1448952 w 1581150"/>
              <a:gd name="connsiteY89" fmla="*/ 170840 h 1219200"/>
              <a:gd name="connsiteX90" fmla="*/ 1451543 w 1581150"/>
              <a:gd name="connsiteY90" fmla="*/ 173431 h 1219200"/>
              <a:gd name="connsiteX91" fmla="*/ 1451543 w 1581150"/>
              <a:gd name="connsiteY91" fmla="*/ 176022 h 1219200"/>
              <a:gd name="connsiteX92" fmla="*/ 1454144 w 1581150"/>
              <a:gd name="connsiteY92" fmla="*/ 181194 h 1219200"/>
              <a:gd name="connsiteX93" fmla="*/ 1454144 w 1581150"/>
              <a:gd name="connsiteY93" fmla="*/ 186376 h 1219200"/>
              <a:gd name="connsiteX94" fmla="*/ 1472289 w 1581150"/>
              <a:gd name="connsiteY94" fmla="*/ 199320 h 1219200"/>
              <a:gd name="connsiteX95" fmla="*/ 1482652 w 1581150"/>
              <a:gd name="connsiteY95" fmla="*/ 196729 h 1219200"/>
              <a:gd name="connsiteX96" fmla="*/ 1487834 w 1581150"/>
              <a:gd name="connsiteY96" fmla="*/ 201911 h 1219200"/>
              <a:gd name="connsiteX97" fmla="*/ 1495616 w 1581150"/>
              <a:gd name="connsiteY97" fmla="*/ 201911 h 1219200"/>
              <a:gd name="connsiteX98" fmla="*/ 1495616 w 1581150"/>
              <a:gd name="connsiteY98" fmla="*/ 196729 h 1219200"/>
              <a:gd name="connsiteX99" fmla="*/ 1508570 w 1581150"/>
              <a:gd name="connsiteY99" fmla="*/ 199320 h 1219200"/>
              <a:gd name="connsiteX100" fmla="*/ 1508570 w 1581150"/>
              <a:gd name="connsiteY100" fmla="*/ 191548 h 1219200"/>
              <a:gd name="connsiteX101" fmla="*/ 1511170 w 1581150"/>
              <a:gd name="connsiteY101" fmla="*/ 188966 h 1219200"/>
              <a:gd name="connsiteX102" fmla="*/ 1513761 w 1581150"/>
              <a:gd name="connsiteY102" fmla="*/ 188966 h 1219200"/>
              <a:gd name="connsiteX103" fmla="*/ 1518942 w 1581150"/>
              <a:gd name="connsiteY103" fmla="*/ 186376 h 1219200"/>
              <a:gd name="connsiteX104" fmla="*/ 1531906 w 1581150"/>
              <a:gd name="connsiteY104" fmla="*/ 186376 h 1219200"/>
              <a:gd name="connsiteX105" fmla="*/ 1534497 w 1581150"/>
              <a:gd name="connsiteY105" fmla="*/ 176022 h 1219200"/>
              <a:gd name="connsiteX106" fmla="*/ 1552642 w 1581150"/>
              <a:gd name="connsiteY106" fmla="*/ 176022 h 1219200"/>
              <a:gd name="connsiteX107" fmla="*/ 1557824 w 1581150"/>
              <a:gd name="connsiteY107" fmla="*/ 178613 h 1219200"/>
              <a:gd name="connsiteX108" fmla="*/ 1560414 w 1581150"/>
              <a:gd name="connsiteY108" fmla="*/ 183785 h 1219200"/>
              <a:gd name="connsiteX109" fmla="*/ 1560414 w 1581150"/>
              <a:gd name="connsiteY109" fmla="*/ 191548 h 1219200"/>
              <a:gd name="connsiteX110" fmla="*/ 1570777 w 1581150"/>
              <a:gd name="connsiteY110" fmla="*/ 196729 h 1219200"/>
              <a:gd name="connsiteX111" fmla="*/ 1570777 w 1581150"/>
              <a:gd name="connsiteY111" fmla="*/ 209674 h 1219200"/>
              <a:gd name="connsiteX112" fmla="*/ 1563005 w 1581150"/>
              <a:gd name="connsiteY112" fmla="*/ 212265 h 1219200"/>
              <a:gd name="connsiteX113" fmla="*/ 1568186 w 1581150"/>
              <a:gd name="connsiteY113" fmla="*/ 220028 h 1219200"/>
              <a:gd name="connsiteX114" fmla="*/ 1568186 w 1581150"/>
              <a:gd name="connsiteY114" fmla="*/ 227790 h 1219200"/>
              <a:gd name="connsiteX115" fmla="*/ 1573378 w 1581150"/>
              <a:gd name="connsiteY115" fmla="*/ 232972 h 1219200"/>
              <a:gd name="connsiteX116" fmla="*/ 1573378 w 1581150"/>
              <a:gd name="connsiteY116" fmla="*/ 243326 h 1219200"/>
              <a:gd name="connsiteX117" fmla="*/ 1581150 w 1581150"/>
              <a:gd name="connsiteY117" fmla="*/ 245907 h 1219200"/>
              <a:gd name="connsiteX118" fmla="*/ 1578560 w 1581150"/>
              <a:gd name="connsiteY118" fmla="*/ 258851 h 1219200"/>
              <a:gd name="connsiteX119" fmla="*/ 1581150 w 1581150"/>
              <a:gd name="connsiteY119" fmla="*/ 269205 h 1219200"/>
              <a:gd name="connsiteX120" fmla="*/ 1578560 w 1581150"/>
              <a:gd name="connsiteY120" fmla="*/ 271796 h 1219200"/>
              <a:gd name="connsiteX121" fmla="*/ 1575968 w 1581150"/>
              <a:gd name="connsiteY121" fmla="*/ 271796 h 1219200"/>
              <a:gd name="connsiteX122" fmla="*/ 1575968 w 1581150"/>
              <a:gd name="connsiteY122" fmla="*/ 279559 h 1219200"/>
              <a:gd name="connsiteX123" fmla="*/ 1578560 w 1581150"/>
              <a:gd name="connsiteY123" fmla="*/ 284740 h 1219200"/>
              <a:gd name="connsiteX124" fmla="*/ 1578560 w 1581150"/>
              <a:gd name="connsiteY124" fmla="*/ 289913 h 1219200"/>
              <a:gd name="connsiteX125" fmla="*/ 1575968 w 1581150"/>
              <a:gd name="connsiteY125" fmla="*/ 292503 h 1219200"/>
              <a:gd name="connsiteX126" fmla="*/ 1573378 w 1581150"/>
              <a:gd name="connsiteY126" fmla="*/ 292503 h 1219200"/>
              <a:gd name="connsiteX127" fmla="*/ 1568186 w 1581150"/>
              <a:gd name="connsiteY127" fmla="*/ 289913 h 1219200"/>
              <a:gd name="connsiteX128" fmla="*/ 1563005 w 1581150"/>
              <a:gd name="connsiteY128" fmla="*/ 289913 h 1219200"/>
              <a:gd name="connsiteX129" fmla="*/ 1555232 w 1581150"/>
              <a:gd name="connsiteY129" fmla="*/ 287331 h 1219200"/>
              <a:gd name="connsiteX130" fmla="*/ 1550041 w 1581150"/>
              <a:gd name="connsiteY130" fmla="*/ 284740 h 1219200"/>
              <a:gd name="connsiteX131" fmla="*/ 1539678 w 1581150"/>
              <a:gd name="connsiteY131" fmla="*/ 284740 h 1219200"/>
              <a:gd name="connsiteX132" fmla="*/ 1537088 w 1581150"/>
              <a:gd name="connsiteY132" fmla="*/ 287331 h 1219200"/>
              <a:gd name="connsiteX133" fmla="*/ 1539678 w 1581150"/>
              <a:gd name="connsiteY133" fmla="*/ 289913 h 1219200"/>
              <a:gd name="connsiteX134" fmla="*/ 1539678 w 1581150"/>
              <a:gd name="connsiteY134" fmla="*/ 295094 h 1219200"/>
              <a:gd name="connsiteX135" fmla="*/ 1529306 w 1581150"/>
              <a:gd name="connsiteY135" fmla="*/ 295094 h 1219200"/>
              <a:gd name="connsiteX136" fmla="*/ 1529306 w 1581150"/>
              <a:gd name="connsiteY136" fmla="*/ 300266 h 1219200"/>
              <a:gd name="connsiteX137" fmla="*/ 1531906 w 1581150"/>
              <a:gd name="connsiteY137" fmla="*/ 305448 h 1219200"/>
              <a:gd name="connsiteX138" fmla="*/ 1534497 w 1581150"/>
              <a:gd name="connsiteY138" fmla="*/ 305448 h 1219200"/>
              <a:gd name="connsiteX139" fmla="*/ 1539678 w 1581150"/>
              <a:gd name="connsiteY139" fmla="*/ 310629 h 1219200"/>
              <a:gd name="connsiteX140" fmla="*/ 1544860 w 1581150"/>
              <a:gd name="connsiteY140" fmla="*/ 313211 h 1219200"/>
              <a:gd name="connsiteX141" fmla="*/ 1550041 w 1581150"/>
              <a:gd name="connsiteY141" fmla="*/ 320983 h 1219200"/>
              <a:gd name="connsiteX142" fmla="*/ 1555232 w 1581150"/>
              <a:gd name="connsiteY142" fmla="*/ 326155 h 1219200"/>
              <a:gd name="connsiteX143" fmla="*/ 1557824 w 1581150"/>
              <a:gd name="connsiteY143" fmla="*/ 333918 h 1219200"/>
              <a:gd name="connsiteX144" fmla="*/ 1557824 w 1581150"/>
              <a:gd name="connsiteY144" fmla="*/ 339100 h 1219200"/>
              <a:gd name="connsiteX145" fmla="*/ 1563005 w 1581150"/>
              <a:gd name="connsiteY145" fmla="*/ 344272 h 1219200"/>
              <a:gd name="connsiteX146" fmla="*/ 1565596 w 1581150"/>
              <a:gd name="connsiteY146" fmla="*/ 349453 h 1219200"/>
              <a:gd name="connsiteX147" fmla="*/ 1568186 w 1581150"/>
              <a:gd name="connsiteY147" fmla="*/ 364988 h 1219200"/>
              <a:gd name="connsiteX148" fmla="*/ 1555232 w 1581150"/>
              <a:gd name="connsiteY148" fmla="*/ 362398 h 1219200"/>
              <a:gd name="connsiteX149" fmla="*/ 1552642 w 1581150"/>
              <a:gd name="connsiteY149" fmla="*/ 372751 h 1219200"/>
              <a:gd name="connsiteX150" fmla="*/ 1544860 w 1581150"/>
              <a:gd name="connsiteY150" fmla="*/ 362398 h 1219200"/>
              <a:gd name="connsiteX151" fmla="*/ 1531906 w 1581150"/>
              <a:gd name="connsiteY151" fmla="*/ 362398 h 1219200"/>
              <a:gd name="connsiteX152" fmla="*/ 1531906 w 1581150"/>
              <a:gd name="connsiteY152" fmla="*/ 364988 h 1219200"/>
              <a:gd name="connsiteX153" fmla="*/ 1534497 w 1581150"/>
              <a:gd name="connsiteY153" fmla="*/ 367570 h 1219200"/>
              <a:gd name="connsiteX154" fmla="*/ 1537088 w 1581150"/>
              <a:gd name="connsiteY154" fmla="*/ 372751 h 1219200"/>
              <a:gd name="connsiteX155" fmla="*/ 1537088 w 1581150"/>
              <a:gd name="connsiteY155" fmla="*/ 380514 h 1219200"/>
              <a:gd name="connsiteX156" fmla="*/ 1526714 w 1581150"/>
              <a:gd name="connsiteY156" fmla="*/ 380514 h 1219200"/>
              <a:gd name="connsiteX157" fmla="*/ 1529306 w 1581150"/>
              <a:gd name="connsiteY157" fmla="*/ 385696 h 1219200"/>
              <a:gd name="connsiteX158" fmla="*/ 1529306 w 1581150"/>
              <a:gd name="connsiteY158" fmla="*/ 388277 h 1219200"/>
              <a:gd name="connsiteX159" fmla="*/ 1526714 w 1581150"/>
              <a:gd name="connsiteY159" fmla="*/ 393459 h 1219200"/>
              <a:gd name="connsiteX160" fmla="*/ 1521533 w 1581150"/>
              <a:gd name="connsiteY160" fmla="*/ 396049 h 1219200"/>
              <a:gd name="connsiteX161" fmla="*/ 1516352 w 1581150"/>
              <a:gd name="connsiteY161" fmla="*/ 393459 h 1219200"/>
              <a:gd name="connsiteX162" fmla="*/ 1505978 w 1581150"/>
              <a:gd name="connsiteY162" fmla="*/ 393459 h 1219200"/>
              <a:gd name="connsiteX163" fmla="*/ 1503388 w 1581150"/>
              <a:gd name="connsiteY163" fmla="*/ 390868 h 1219200"/>
              <a:gd name="connsiteX164" fmla="*/ 1500797 w 1581150"/>
              <a:gd name="connsiteY164" fmla="*/ 393459 h 1219200"/>
              <a:gd name="connsiteX165" fmla="*/ 1500797 w 1581150"/>
              <a:gd name="connsiteY165" fmla="*/ 398631 h 1219200"/>
              <a:gd name="connsiteX166" fmla="*/ 1511170 w 1581150"/>
              <a:gd name="connsiteY166" fmla="*/ 408984 h 1219200"/>
              <a:gd name="connsiteX167" fmla="*/ 1513761 w 1581150"/>
              <a:gd name="connsiteY167" fmla="*/ 408984 h 1219200"/>
              <a:gd name="connsiteX168" fmla="*/ 1513761 w 1581150"/>
              <a:gd name="connsiteY168" fmla="*/ 414166 h 1219200"/>
              <a:gd name="connsiteX169" fmla="*/ 1493025 w 1581150"/>
              <a:gd name="connsiteY169" fmla="*/ 414166 h 1219200"/>
              <a:gd name="connsiteX170" fmla="*/ 1487834 w 1581150"/>
              <a:gd name="connsiteY170" fmla="*/ 411575 h 1219200"/>
              <a:gd name="connsiteX171" fmla="*/ 1482652 w 1581150"/>
              <a:gd name="connsiteY171" fmla="*/ 411575 h 1219200"/>
              <a:gd name="connsiteX172" fmla="*/ 1477470 w 1581150"/>
              <a:gd name="connsiteY172" fmla="*/ 406403 h 1219200"/>
              <a:gd name="connsiteX173" fmla="*/ 1472289 w 1581150"/>
              <a:gd name="connsiteY173" fmla="*/ 403812 h 1219200"/>
              <a:gd name="connsiteX174" fmla="*/ 1467098 w 1581150"/>
              <a:gd name="connsiteY174" fmla="*/ 403812 h 1219200"/>
              <a:gd name="connsiteX175" fmla="*/ 1467098 w 1581150"/>
              <a:gd name="connsiteY175" fmla="*/ 406403 h 1219200"/>
              <a:gd name="connsiteX176" fmla="*/ 1464507 w 1581150"/>
              <a:gd name="connsiteY176" fmla="*/ 408984 h 1219200"/>
              <a:gd name="connsiteX177" fmla="*/ 1464507 w 1581150"/>
              <a:gd name="connsiteY177" fmla="*/ 421929 h 1219200"/>
              <a:gd name="connsiteX178" fmla="*/ 1456734 w 1581150"/>
              <a:gd name="connsiteY178" fmla="*/ 437464 h 1219200"/>
              <a:gd name="connsiteX179" fmla="*/ 1451543 w 1581150"/>
              <a:gd name="connsiteY179" fmla="*/ 442636 h 1219200"/>
              <a:gd name="connsiteX180" fmla="*/ 1435998 w 1581150"/>
              <a:gd name="connsiteY180" fmla="*/ 450409 h 1219200"/>
              <a:gd name="connsiteX181" fmla="*/ 1433408 w 1581150"/>
              <a:gd name="connsiteY181" fmla="*/ 455581 h 1219200"/>
              <a:gd name="connsiteX182" fmla="*/ 1430807 w 1581150"/>
              <a:gd name="connsiteY182" fmla="*/ 458171 h 1219200"/>
              <a:gd name="connsiteX183" fmla="*/ 1430807 w 1581150"/>
              <a:gd name="connsiteY183" fmla="*/ 463344 h 1219200"/>
              <a:gd name="connsiteX184" fmla="*/ 1428216 w 1581150"/>
              <a:gd name="connsiteY184" fmla="*/ 468525 h 1219200"/>
              <a:gd name="connsiteX185" fmla="*/ 1410072 w 1581150"/>
              <a:gd name="connsiteY185" fmla="*/ 468525 h 1219200"/>
              <a:gd name="connsiteX186" fmla="*/ 1407481 w 1581150"/>
              <a:gd name="connsiteY186" fmla="*/ 471116 h 1219200"/>
              <a:gd name="connsiteX187" fmla="*/ 1386745 w 1581150"/>
              <a:gd name="connsiteY187" fmla="*/ 481470 h 1219200"/>
              <a:gd name="connsiteX188" fmla="*/ 1384154 w 1581150"/>
              <a:gd name="connsiteY188" fmla="*/ 484061 h 1219200"/>
              <a:gd name="connsiteX189" fmla="*/ 1381563 w 1581150"/>
              <a:gd name="connsiteY189" fmla="*/ 484061 h 1219200"/>
              <a:gd name="connsiteX190" fmla="*/ 1381563 w 1581150"/>
              <a:gd name="connsiteY190" fmla="*/ 494414 h 1219200"/>
              <a:gd name="connsiteX191" fmla="*/ 1376382 w 1581150"/>
              <a:gd name="connsiteY191" fmla="*/ 499586 h 1219200"/>
              <a:gd name="connsiteX192" fmla="*/ 1373791 w 1581150"/>
              <a:gd name="connsiteY192" fmla="*/ 499586 h 1219200"/>
              <a:gd name="connsiteX193" fmla="*/ 1368600 w 1581150"/>
              <a:gd name="connsiteY193" fmla="*/ 502177 h 1219200"/>
              <a:gd name="connsiteX194" fmla="*/ 1366009 w 1581150"/>
              <a:gd name="connsiteY194" fmla="*/ 504768 h 1219200"/>
              <a:gd name="connsiteX195" fmla="*/ 1360827 w 1581150"/>
              <a:gd name="connsiteY195" fmla="*/ 507349 h 1219200"/>
              <a:gd name="connsiteX196" fmla="*/ 1358236 w 1581150"/>
              <a:gd name="connsiteY196" fmla="*/ 507349 h 1219200"/>
              <a:gd name="connsiteX197" fmla="*/ 1358236 w 1581150"/>
              <a:gd name="connsiteY197" fmla="*/ 504768 h 1219200"/>
              <a:gd name="connsiteX198" fmla="*/ 1366009 w 1581150"/>
              <a:gd name="connsiteY198" fmla="*/ 496996 h 1219200"/>
              <a:gd name="connsiteX199" fmla="*/ 1368600 w 1581150"/>
              <a:gd name="connsiteY199" fmla="*/ 484061 h 1219200"/>
              <a:gd name="connsiteX200" fmla="*/ 1366009 w 1581150"/>
              <a:gd name="connsiteY200" fmla="*/ 484061 h 1219200"/>
              <a:gd name="connsiteX201" fmla="*/ 1360827 w 1581150"/>
              <a:gd name="connsiteY201" fmla="*/ 486642 h 1219200"/>
              <a:gd name="connsiteX202" fmla="*/ 1358236 w 1581150"/>
              <a:gd name="connsiteY202" fmla="*/ 486642 h 1219200"/>
              <a:gd name="connsiteX203" fmla="*/ 1353045 w 1581150"/>
              <a:gd name="connsiteY203" fmla="*/ 481470 h 1219200"/>
              <a:gd name="connsiteX204" fmla="*/ 1350455 w 1581150"/>
              <a:gd name="connsiteY204" fmla="*/ 476288 h 1219200"/>
              <a:gd name="connsiteX205" fmla="*/ 1350455 w 1581150"/>
              <a:gd name="connsiteY205" fmla="*/ 471116 h 1219200"/>
              <a:gd name="connsiteX206" fmla="*/ 1358236 w 1581150"/>
              <a:gd name="connsiteY206" fmla="*/ 463344 h 1219200"/>
              <a:gd name="connsiteX207" fmla="*/ 1363418 w 1581150"/>
              <a:gd name="connsiteY207" fmla="*/ 452990 h 1219200"/>
              <a:gd name="connsiteX208" fmla="*/ 1363418 w 1581150"/>
              <a:gd name="connsiteY208" fmla="*/ 450409 h 1219200"/>
              <a:gd name="connsiteX209" fmla="*/ 1358236 w 1581150"/>
              <a:gd name="connsiteY209" fmla="*/ 440055 h 1219200"/>
              <a:gd name="connsiteX210" fmla="*/ 1353045 w 1581150"/>
              <a:gd name="connsiteY210" fmla="*/ 437464 h 1219200"/>
              <a:gd name="connsiteX211" fmla="*/ 1350455 w 1581150"/>
              <a:gd name="connsiteY211" fmla="*/ 432283 h 1219200"/>
              <a:gd name="connsiteX212" fmla="*/ 1345273 w 1581150"/>
              <a:gd name="connsiteY212" fmla="*/ 429701 h 1219200"/>
              <a:gd name="connsiteX213" fmla="*/ 1337500 w 1581150"/>
              <a:gd name="connsiteY213" fmla="*/ 437464 h 1219200"/>
              <a:gd name="connsiteX214" fmla="*/ 1321946 w 1581150"/>
              <a:gd name="connsiteY214" fmla="*/ 432283 h 1219200"/>
              <a:gd name="connsiteX215" fmla="*/ 1327128 w 1581150"/>
              <a:gd name="connsiteY215" fmla="*/ 437464 h 1219200"/>
              <a:gd name="connsiteX216" fmla="*/ 1319356 w 1581150"/>
              <a:gd name="connsiteY216" fmla="*/ 442636 h 1219200"/>
              <a:gd name="connsiteX217" fmla="*/ 1319356 w 1581150"/>
              <a:gd name="connsiteY217" fmla="*/ 445227 h 1219200"/>
              <a:gd name="connsiteX218" fmla="*/ 1316764 w 1581150"/>
              <a:gd name="connsiteY218" fmla="*/ 447818 h 1219200"/>
              <a:gd name="connsiteX219" fmla="*/ 1316764 w 1581150"/>
              <a:gd name="connsiteY219" fmla="*/ 452990 h 1219200"/>
              <a:gd name="connsiteX220" fmla="*/ 1314174 w 1581150"/>
              <a:gd name="connsiteY220" fmla="*/ 458171 h 1219200"/>
              <a:gd name="connsiteX221" fmla="*/ 1311573 w 1581150"/>
              <a:gd name="connsiteY221" fmla="*/ 460762 h 1219200"/>
              <a:gd name="connsiteX222" fmla="*/ 1296029 w 1581150"/>
              <a:gd name="connsiteY222" fmla="*/ 460762 h 1219200"/>
              <a:gd name="connsiteX223" fmla="*/ 1296029 w 1581150"/>
              <a:gd name="connsiteY223" fmla="*/ 463344 h 1219200"/>
              <a:gd name="connsiteX224" fmla="*/ 1293429 w 1581150"/>
              <a:gd name="connsiteY224" fmla="*/ 468525 h 1219200"/>
              <a:gd name="connsiteX225" fmla="*/ 1293429 w 1581150"/>
              <a:gd name="connsiteY225" fmla="*/ 478879 h 1219200"/>
              <a:gd name="connsiteX226" fmla="*/ 1296029 w 1581150"/>
              <a:gd name="connsiteY226" fmla="*/ 481470 h 1219200"/>
              <a:gd name="connsiteX227" fmla="*/ 1296029 w 1581150"/>
              <a:gd name="connsiteY227" fmla="*/ 486642 h 1219200"/>
              <a:gd name="connsiteX228" fmla="*/ 1293429 w 1581150"/>
              <a:gd name="connsiteY228" fmla="*/ 489233 h 1219200"/>
              <a:gd name="connsiteX229" fmla="*/ 1288247 w 1581150"/>
              <a:gd name="connsiteY229" fmla="*/ 491823 h 1219200"/>
              <a:gd name="connsiteX230" fmla="*/ 1283065 w 1581150"/>
              <a:gd name="connsiteY230" fmla="*/ 491823 h 1219200"/>
              <a:gd name="connsiteX231" fmla="*/ 1280474 w 1581150"/>
              <a:gd name="connsiteY231" fmla="*/ 489233 h 1219200"/>
              <a:gd name="connsiteX232" fmla="*/ 1277884 w 1581150"/>
              <a:gd name="connsiteY232" fmla="*/ 489233 h 1219200"/>
              <a:gd name="connsiteX233" fmla="*/ 1275293 w 1581150"/>
              <a:gd name="connsiteY233" fmla="*/ 491823 h 1219200"/>
              <a:gd name="connsiteX234" fmla="*/ 1275293 w 1581150"/>
              <a:gd name="connsiteY234" fmla="*/ 494414 h 1219200"/>
              <a:gd name="connsiteX235" fmla="*/ 1272693 w 1581150"/>
              <a:gd name="connsiteY235" fmla="*/ 496996 h 1219200"/>
              <a:gd name="connsiteX236" fmla="*/ 1270102 w 1581150"/>
              <a:gd name="connsiteY236" fmla="*/ 496996 h 1219200"/>
              <a:gd name="connsiteX237" fmla="*/ 1264920 w 1581150"/>
              <a:gd name="connsiteY237" fmla="*/ 491823 h 1219200"/>
              <a:gd name="connsiteX238" fmla="*/ 1257148 w 1581150"/>
              <a:gd name="connsiteY238" fmla="*/ 491823 h 1219200"/>
              <a:gd name="connsiteX239" fmla="*/ 1257148 w 1581150"/>
              <a:gd name="connsiteY239" fmla="*/ 509940 h 1219200"/>
              <a:gd name="connsiteX240" fmla="*/ 1259738 w 1581150"/>
              <a:gd name="connsiteY240" fmla="*/ 515121 h 1219200"/>
              <a:gd name="connsiteX241" fmla="*/ 1264920 w 1581150"/>
              <a:gd name="connsiteY241" fmla="*/ 517703 h 1219200"/>
              <a:gd name="connsiteX242" fmla="*/ 1267511 w 1581150"/>
              <a:gd name="connsiteY242" fmla="*/ 522884 h 1219200"/>
              <a:gd name="connsiteX243" fmla="*/ 1270102 w 1581150"/>
              <a:gd name="connsiteY243" fmla="*/ 525475 h 1219200"/>
              <a:gd name="connsiteX244" fmla="*/ 1275293 w 1581150"/>
              <a:gd name="connsiteY244" fmla="*/ 528066 h 1219200"/>
              <a:gd name="connsiteX245" fmla="*/ 1290838 w 1581150"/>
              <a:gd name="connsiteY245" fmla="*/ 528066 h 1219200"/>
              <a:gd name="connsiteX246" fmla="*/ 1296029 w 1581150"/>
              <a:gd name="connsiteY246" fmla="*/ 535829 h 1219200"/>
              <a:gd name="connsiteX247" fmla="*/ 1296029 w 1581150"/>
              <a:gd name="connsiteY247" fmla="*/ 530647 h 1219200"/>
              <a:gd name="connsiteX248" fmla="*/ 1298620 w 1581150"/>
              <a:gd name="connsiteY248" fmla="*/ 528066 h 1219200"/>
              <a:gd name="connsiteX249" fmla="*/ 1303801 w 1581150"/>
              <a:gd name="connsiteY249" fmla="*/ 528066 h 1219200"/>
              <a:gd name="connsiteX250" fmla="*/ 1306392 w 1581150"/>
              <a:gd name="connsiteY250" fmla="*/ 530647 h 1219200"/>
              <a:gd name="connsiteX251" fmla="*/ 1308983 w 1581150"/>
              <a:gd name="connsiteY251" fmla="*/ 535829 h 1219200"/>
              <a:gd name="connsiteX252" fmla="*/ 1314174 w 1581150"/>
              <a:gd name="connsiteY252" fmla="*/ 551355 h 1219200"/>
              <a:gd name="connsiteX253" fmla="*/ 1316764 w 1581150"/>
              <a:gd name="connsiteY253" fmla="*/ 556536 h 1219200"/>
              <a:gd name="connsiteX254" fmla="*/ 1319356 w 1581150"/>
              <a:gd name="connsiteY254" fmla="*/ 559127 h 1219200"/>
              <a:gd name="connsiteX255" fmla="*/ 1329719 w 1581150"/>
              <a:gd name="connsiteY255" fmla="*/ 564299 h 1219200"/>
              <a:gd name="connsiteX256" fmla="*/ 1342682 w 1581150"/>
              <a:gd name="connsiteY256" fmla="*/ 564299 h 1219200"/>
              <a:gd name="connsiteX257" fmla="*/ 1342682 w 1581150"/>
              <a:gd name="connsiteY257" fmla="*/ 561708 h 1219200"/>
              <a:gd name="connsiteX258" fmla="*/ 1345273 w 1581150"/>
              <a:gd name="connsiteY258" fmla="*/ 559127 h 1219200"/>
              <a:gd name="connsiteX259" fmla="*/ 1345273 w 1581150"/>
              <a:gd name="connsiteY259" fmla="*/ 553946 h 1219200"/>
              <a:gd name="connsiteX260" fmla="*/ 1353045 w 1581150"/>
              <a:gd name="connsiteY260" fmla="*/ 546183 h 1219200"/>
              <a:gd name="connsiteX261" fmla="*/ 1358236 w 1581150"/>
              <a:gd name="connsiteY261" fmla="*/ 543592 h 1219200"/>
              <a:gd name="connsiteX262" fmla="*/ 1360827 w 1581150"/>
              <a:gd name="connsiteY262" fmla="*/ 538420 h 1219200"/>
              <a:gd name="connsiteX263" fmla="*/ 1371190 w 1581150"/>
              <a:gd name="connsiteY263" fmla="*/ 538420 h 1219200"/>
              <a:gd name="connsiteX264" fmla="*/ 1373791 w 1581150"/>
              <a:gd name="connsiteY264" fmla="*/ 541001 h 1219200"/>
              <a:gd name="connsiteX265" fmla="*/ 1378972 w 1581150"/>
              <a:gd name="connsiteY265" fmla="*/ 543592 h 1219200"/>
              <a:gd name="connsiteX266" fmla="*/ 1381563 w 1581150"/>
              <a:gd name="connsiteY266" fmla="*/ 548774 h 1219200"/>
              <a:gd name="connsiteX267" fmla="*/ 1384154 w 1581150"/>
              <a:gd name="connsiteY267" fmla="*/ 551355 h 1219200"/>
              <a:gd name="connsiteX268" fmla="*/ 1399708 w 1581150"/>
              <a:gd name="connsiteY268" fmla="*/ 551355 h 1219200"/>
              <a:gd name="connsiteX269" fmla="*/ 1402299 w 1581150"/>
              <a:gd name="connsiteY269" fmla="*/ 546183 h 1219200"/>
              <a:gd name="connsiteX270" fmla="*/ 1407481 w 1581150"/>
              <a:gd name="connsiteY270" fmla="*/ 551355 h 1219200"/>
              <a:gd name="connsiteX271" fmla="*/ 1420444 w 1581150"/>
              <a:gd name="connsiteY271" fmla="*/ 551355 h 1219200"/>
              <a:gd name="connsiteX272" fmla="*/ 1417854 w 1581150"/>
              <a:gd name="connsiteY272" fmla="*/ 561708 h 1219200"/>
              <a:gd name="connsiteX273" fmla="*/ 1420444 w 1581150"/>
              <a:gd name="connsiteY273" fmla="*/ 564299 h 1219200"/>
              <a:gd name="connsiteX274" fmla="*/ 1420444 w 1581150"/>
              <a:gd name="connsiteY274" fmla="*/ 566890 h 1219200"/>
              <a:gd name="connsiteX275" fmla="*/ 1423035 w 1581150"/>
              <a:gd name="connsiteY275" fmla="*/ 569481 h 1219200"/>
              <a:gd name="connsiteX276" fmla="*/ 1423035 w 1581150"/>
              <a:gd name="connsiteY276" fmla="*/ 572072 h 1219200"/>
              <a:gd name="connsiteX277" fmla="*/ 1412672 w 1581150"/>
              <a:gd name="connsiteY277" fmla="*/ 572072 h 1219200"/>
              <a:gd name="connsiteX278" fmla="*/ 1410072 w 1581150"/>
              <a:gd name="connsiteY278" fmla="*/ 569481 h 1219200"/>
              <a:gd name="connsiteX279" fmla="*/ 1404890 w 1581150"/>
              <a:gd name="connsiteY279" fmla="*/ 569481 h 1219200"/>
              <a:gd name="connsiteX280" fmla="*/ 1389336 w 1581150"/>
              <a:gd name="connsiteY280" fmla="*/ 579834 h 1219200"/>
              <a:gd name="connsiteX281" fmla="*/ 1378972 w 1581150"/>
              <a:gd name="connsiteY281" fmla="*/ 579834 h 1219200"/>
              <a:gd name="connsiteX282" fmla="*/ 1378972 w 1581150"/>
              <a:gd name="connsiteY282" fmla="*/ 585006 h 1219200"/>
              <a:gd name="connsiteX283" fmla="*/ 1381563 w 1581150"/>
              <a:gd name="connsiteY283" fmla="*/ 590188 h 1219200"/>
              <a:gd name="connsiteX284" fmla="*/ 1381563 w 1581150"/>
              <a:gd name="connsiteY284" fmla="*/ 597951 h 1219200"/>
              <a:gd name="connsiteX285" fmla="*/ 1376382 w 1581150"/>
              <a:gd name="connsiteY285" fmla="*/ 603133 h 1219200"/>
              <a:gd name="connsiteX286" fmla="*/ 1371190 w 1581150"/>
              <a:gd name="connsiteY286" fmla="*/ 600542 h 1219200"/>
              <a:gd name="connsiteX287" fmla="*/ 1368600 w 1581150"/>
              <a:gd name="connsiteY287" fmla="*/ 597951 h 1219200"/>
              <a:gd name="connsiteX288" fmla="*/ 1363418 w 1581150"/>
              <a:gd name="connsiteY288" fmla="*/ 595360 h 1219200"/>
              <a:gd name="connsiteX289" fmla="*/ 1366009 w 1581150"/>
              <a:gd name="connsiteY289" fmla="*/ 600542 h 1219200"/>
              <a:gd name="connsiteX290" fmla="*/ 1366009 w 1581150"/>
              <a:gd name="connsiteY290" fmla="*/ 603133 h 1219200"/>
              <a:gd name="connsiteX291" fmla="*/ 1368600 w 1581150"/>
              <a:gd name="connsiteY291" fmla="*/ 608305 h 1219200"/>
              <a:gd name="connsiteX292" fmla="*/ 1368600 w 1581150"/>
              <a:gd name="connsiteY292" fmla="*/ 610895 h 1219200"/>
              <a:gd name="connsiteX293" fmla="*/ 1366009 w 1581150"/>
              <a:gd name="connsiteY293" fmla="*/ 616067 h 1219200"/>
              <a:gd name="connsiteX294" fmla="*/ 1363418 w 1581150"/>
              <a:gd name="connsiteY294" fmla="*/ 618658 h 1219200"/>
              <a:gd name="connsiteX295" fmla="*/ 1360827 w 1581150"/>
              <a:gd name="connsiteY295" fmla="*/ 623840 h 1219200"/>
              <a:gd name="connsiteX296" fmla="*/ 1355646 w 1581150"/>
              <a:gd name="connsiteY296" fmla="*/ 626431 h 1219200"/>
              <a:gd name="connsiteX297" fmla="*/ 1350455 w 1581150"/>
              <a:gd name="connsiteY297" fmla="*/ 631603 h 1219200"/>
              <a:gd name="connsiteX298" fmla="*/ 1353045 w 1581150"/>
              <a:gd name="connsiteY298" fmla="*/ 634194 h 1219200"/>
              <a:gd name="connsiteX299" fmla="*/ 1353045 w 1581150"/>
              <a:gd name="connsiteY299" fmla="*/ 639366 h 1219200"/>
              <a:gd name="connsiteX300" fmla="*/ 1355646 w 1581150"/>
              <a:gd name="connsiteY300" fmla="*/ 641956 h 1219200"/>
              <a:gd name="connsiteX301" fmla="*/ 1358236 w 1581150"/>
              <a:gd name="connsiteY301" fmla="*/ 647138 h 1219200"/>
              <a:gd name="connsiteX302" fmla="*/ 1366009 w 1581150"/>
              <a:gd name="connsiteY302" fmla="*/ 644547 h 1219200"/>
              <a:gd name="connsiteX303" fmla="*/ 1381563 w 1581150"/>
              <a:gd name="connsiteY303" fmla="*/ 657492 h 1219200"/>
              <a:gd name="connsiteX304" fmla="*/ 1397118 w 1581150"/>
              <a:gd name="connsiteY304" fmla="*/ 660073 h 1219200"/>
              <a:gd name="connsiteX305" fmla="*/ 1430807 w 1581150"/>
              <a:gd name="connsiteY305" fmla="*/ 704079 h 1219200"/>
              <a:gd name="connsiteX306" fmla="*/ 1430807 w 1581150"/>
              <a:gd name="connsiteY306" fmla="*/ 709260 h 1219200"/>
              <a:gd name="connsiteX307" fmla="*/ 1433408 w 1581150"/>
              <a:gd name="connsiteY307" fmla="*/ 711851 h 1219200"/>
              <a:gd name="connsiteX308" fmla="*/ 1433408 w 1581150"/>
              <a:gd name="connsiteY308" fmla="*/ 717023 h 1219200"/>
              <a:gd name="connsiteX309" fmla="*/ 1438590 w 1581150"/>
              <a:gd name="connsiteY309" fmla="*/ 722204 h 1219200"/>
              <a:gd name="connsiteX310" fmla="*/ 1446362 w 1581150"/>
              <a:gd name="connsiteY310" fmla="*/ 722204 h 1219200"/>
              <a:gd name="connsiteX311" fmla="*/ 1451543 w 1581150"/>
              <a:gd name="connsiteY311" fmla="*/ 724786 h 1219200"/>
              <a:gd name="connsiteX312" fmla="*/ 1456734 w 1581150"/>
              <a:gd name="connsiteY312" fmla="*/ 729967 h 1219200"/>
              <a:gd name="connsiteX313" fmla="*/ 1456734 w 1581150"/>
              <a:gd name="connsiteY313" fmla="*/ 737730 h 1219200"/>
              <a:gd name="connsiteX314" fmla="*/ 1464507 w 1581150"/>
              <a:gd name="connsiteY314" fmla="*/ 740321 h 1219200"/>
              <a:gd name="connsiteX315" fmla="*/ 1472289 w 1581150"/>
              <a:gd name="connsiteY315" fmla="*/ 750675 h 1219200"/>
              <a:gd name="connsiteX316" fmla="*/ 1454144 w 1581150"/>
              <a:gd name="connsiteY316" fmla="*/ 745503 h 1219200"/>
              <a:gd name="connsiteX317" fmla="*/ 1446362 w 1581150"/>
              <a:gd name="connsiteY317" fmla="*/ 748084 h 1219200"/>
              <a:gd name="connsiteX318" fmla="*/ 1441180 w 1581150"/>
              <a:gd name="connsiteY318" fmla="*/ 740321 h 1219200"/>
              <a:gd name="connsiteX319" fmla="*/ 1428216 w 1581150"/>
              <a:gd name="connsiteY319" fmla="*/ 737730 h 1219200"/>
              <a:gd name="connsiteX320" fmla="*/ 1425626 w 1581150"/>
              <a:gd name="connsiteY320" fmla="*/ 737730 h 1219200"/>
              <a:gd name="connsiteX321" fmla="*/ 1423035 w 1581150"/>
              <a:gd name="connsiteY321" fmla="*/ 740321 h 1219200"/>
              <a:gd name="connsiteX322" fmla="*/ 1417854 w 1581150"/>
              <a:gd name="connsiteY322" fmla="*/ 740321 h 1219200"/>
              <a:gd name="connsiteX323" fmla="*/ 1412672 w 1581150"/>
              <a:gd name="connsiteY323" fmla="*/ 737730 h 1219200"/>
              <a:gd name="connsiteX324" fmla="*/ 1410072 w 1581150"/>
              <a:gd name="connsiteY324" fmla="*/ 735149 h 1219200"/>
              <a:gd name="connsiteX325" fmla="*/ 1406973 w 1581150"/>
              <a:gd name="connsiteY325" fmla="*/ 733600 h 1219200"/>
              <a:gd name="connsiteX326" fmla="*/ 1402299 w 1581150"/>
              <a:gd name="connsiteY326" fmla="*/ 727377 h 1219200"/>
              <a:gd name="connsiteX327" fmla="*/ 1404890 w 1581150"/>
              <a:gd name="connsiteY327" fmla="*/ 732558 h 1219200"/>
              <a:gd name="connsiteX328" fmla="*/ 1406973 w 1581150"/>
              <a:gd name="connsiteY328" fmla="*/ 733600 h 1219200"/>
              <a:gd name="connsiteX329" fmla="*/ 1417854 w 1581150"/>
              <a:gd name="connsiteY329" fmla="*/ 748084 h 1219200"/>
              <a:gd name="connsiteX330" fmla="*/ 1420444 w 1581150"/>
              <a:gd name="connsiteY330" fmla="*/ 748084 h 1219200"/>
              <a:gd name="connsiteX331" fmla="*/ 1423035 w 1581150"/>
              <a:gd name="connsiteY331" fmla="*/ 745503 h 1219200"/>
              <a:gd name="connsiteX332" fmla="*/ 1435998 w 1581150"/>
              <a:gd name="connsiteY332" fmla="*/ 745503 h 1219200"/>
              <a:gd name="connsiteX333" fmla="*/ 1441180 w 1581150"/>
              <a:gd name="connsiteY333" fmla="*/ 748084 h 1219200"/>
              <a:gd name="connsiteX334" fmla="*/ 1443771 w 1581150"/>
              <a:gd name="connsiteY334" fmla="*/ 753266 h 1219200"/>
              <a:gd name="connsiteX335" fmla="*/ 1448952 w 1581150"/>
              <a:gd name="connsiteY335" fmla="*/ 753266 h 1219200"/>
              <a:gd name="connsiteX336" fmla="*/ 1454144 w 1581150"/>
              <a:gd name="connsiteY336" fmla="*/ 761029 h 1219200"/>
              <a:gd name="connsiteX337" fmla="*/ 1459326 w 1581150"/>
              <a:gd name="connsiteY337" fmla="*/ 761029 h 1219200"/>
              <a:gd name="connsiteX338" fmla="*/ 1464507 w 1581150"/>
              <a:gd name="connsiteY338" fmla="*/ 763619 h 1219200"/>
              <a:gd name="connsiteX339" fmla="*/ 1472289 w 1581150"/>
              <a:gd name="connsiteY339" fmla="*/ 763619 h 1219200"/>
              <a:gd name="connsiteX340" fmla="*/ 1474880 w 1581150"/>
              <a:gd name="connsiteY340" fmla="*/ 766210 h 1219200"/>
              <a:gd name="connsiteX341" fmla="*/ 1474880 w 1581150"/>
              <a:gd name="connsiteY341" fmla="*/ 768791 h 1219200"/>
              <a:gd name="connsiteX342" fmla="*/ 1477470 w 1581150"/>
              <a:gd name="connsiteY342" fmla="*/ 773973 h 1219200"/>
              <a:gd name="connsiteX343" fmla="*/ 1480061 w 1581150"/>
              <a:gd name="connsiteY343" fmla="*/ 776564 h 1219200"/>
              <a:gd name="connsiteX344" fmla="*/ 1482652 w 1581150"/>
              <a:gd name="connsiteY344" fmla="*/ 781736 h 1219200"/>
              <a:gd name="connsiteX345" fmla="*/ 1469688 w 1581150"/>
              <a:gd name="connsiteY345" fmla="*/ 781736 h 1219200"/>
              <a:gd name="connsiteX346" fmla="*/ 1464507 w 1581150"/>
              <a:gd name="connsiteY346" fmla="*/ 784327 h 1219200"/>
              <a:gd name="connsiteX347" fmla="*/ 1461916 w 1581150"/>
              <a:gd name="connsiteY347" fmla="*/ 786917 h 1219200"/>
              <a:gd name="connsiteX348" fmla="*/ 1459326 w 1581150"/>
              <a:gd name="connsiteY348" fmla="*/ 792089 h 1219200"/>
              <a:gd name="connsiteX349" fmla="*/ 1459326 w 1581150"/>
              <a:gd name="connsiteY349" fmla="*/ 797271 h 1219200"/>
              <a:gd name="connsiteX350" fmla="*/ 1441180 w 1581150"/>
              <a:gd name="connsiteY350" fmla="*/ 797271 h 1219200"/>
              <a:gd name="connsiteX351" fmla="*/ 1448952 w 1581150"/>
              <a:gd name="connsiteY351" fmla="*/ 805034 h 1219200"/>
              <a:gd name="connsiteX352" fmla="*/ 1454144 w 1581150"/>
              <a:gd name="connsiteY352" fmla="*/ 802443 h 1219200"/>
              <a:gd name="connsiteX353" fmla="*/ 1467098 w 1581150"/>
              <a:gd name="connsiteY353" fmla="*/ 799862 h 1219200"/>
              <a:gd name="connsiteX354" fmla="*/ 1485243 w 1581150"/>
              <a:gd name="connsiteY354" fmla="*/ 797271 h 1219200"/>
              <a:gd name="connsiteX355" fmla="*/ 1500797 w 1581150"/>
              <a:gd name="connsiteY355" fmla="*/ 794680 h 1219200"/>
              <a:gd name="connsiteX356" fmla="*/ 1511170 w 1581150"/>
              <a:gd name="connsiteY356" fmla="*/ 797271 h 1219200"/>
              <a:gd name="connsiteX357" fmla="*/ 1513761 w 1581150"/>
              <a:gd name="connsiteY357" fmla="*/ 799862 h 1219200"/>
              <a:gd name="connsiteX358" fmla="*/ 1513761 w 1581150"/>
              <a:gd name="connsiteY358" fmla="*/ 805034 h 1219200"/>
              <a:gd name="connsiteX359" fmla="*/ 1511170 w 1581150"/>
              <a:gd name="connsiteY359" fmla="*/ 807625 h 1219200"/>
              <a:gd name="connsiteX360" fmla="*/ 1505978 w 1581150"/>
              <a:gd name="connsiteY360" fmla="*/ 817979 h 1219200"/>
              <a:gd name="connsiteX361" fmla="*/ 1498206 w 1581150"/>
              <a:gd name="connsiteY361" fmla="*/ 825741 h 1219200"/>
              <a:gd name="connsiteX362" fmla="*/ 1500797 w 1581150"/>
              <a:gd name="connsiteY362" fmla="*/ 825741 h 1219200"/>
              <a:gd name="connsiteX363" fmla="*/ 1508570 w 1581150"/>
              <a:gd name="connsiteY363" fmla="*/ 833504 h 1219200"/>
              <a:gd name="connsiteX364" fmla="*/ 1503388 w 1581150"/>
              <a:gd name="connsiteY364" fmla="*/ 838686 h 1219200"/>
              <a:gd name="connsiteX365" fmla="*/ 1498206 w 1581150"/>
              <a:gd name="connsiteY365" fmla="*/ 841277 h 1219200"/>
              <a:gd name="connsiteX366" fmla="*/ 1493025 w 1581150"/>
              <a:gd name="connsiteY366" fmla="*/ 841277 h 1219200"/>
              <a:gd name="connsiteX367" fmla="*/ 1490424 w 1581150"/>
              <a:gd name="connsiteY367" fmla="*/ 843867 h 1219200"/>
              <a:gd name="connsiteX368" fmla="*/ 1493025 w 1581150"/>
              <a:gd name="connsiteY368" fmla="*/ 843867 h 1219200"/>
              <a:gd name="connsiteX369" fmla="*/ 1495616 w 1581150"/>
              <a:gd name="connsiteY369" fmla="*/ 846449 h 1219200"/>
              <a:gd name="connsiteX370" fmla="*/ 1495616 w 1581150"/>
              <a:gd name="connsiteY370" fmla="*/ 854221 h 1219200"/>
              <a:gd name="connsiteX371" fmla="*/ 1493025 w 1581150"/>
              <a:gd name="connsiteY371" fmla="*/ 859393 h 1219200"/>
              <a:gd name="connsiteX372" fmla="*/ 1477470 w 1581150"/>
              <a:gd name="connsiteY372" fmla="*/ 867156 h 1219200"/>
              <a:gd name="connsiteX373" fmla="*/ 1474880 w 1581150"/>
              <a:gd name="connsiteY373" fmla="*/ 869747 h 1219200"/>
              <a:gd name="connsiteX374" fmla="*/ 1472289 w 1581150"/>
              <a:gd name="connsiteY374" fmla="*/ 869747 h 1219200"/>
              <a:gd name="connsiteX375" fmla="*/ 1472289 w 1581150"/>
              <a:gd name="connsiteY375" fmla="*/ 885282 h 1219200"/>
              <a:gd name="connsiteX376" fmla="*/ 1469688 w 1581150"/>
              <a:gd name="connsiteY376" fmla="*/ 887863 h 1219200"/>
              <a:gd name="connsiteX377" fmla="*/ 1464507 w 1581150"/>
              <a:gd name="connsiteY377" fmla="*/ 890454 h 1219200"/>
              <a:gd name="connsiteX378" fmla="*/ 1464507 w 1581150"/>
              <a:gd name="connsiteY378" fmla="*/ 895636 h 1219200"/>
              <a:gd name="connsiteX379" fmla="*/ 1472289 w 1581150"/>
              <a:gd name="connsiteY379" fmla="*/ 903399 h 1219200"/>
              <a:gd name="connsiteX380" fmla="*/ 1472289 w 1581150"/>
              <a:gd name="connsiteY380" fmla="*/ 913752 h 1219200"/>
              <a:gd name="connsiteX381" fmla="*/ 1469688 w 1581150"/>
              <a:gd name="connsiteY381" fmla="*/ 916343 h 1219200"/>
              <a:gd name="connsiteX382" fmla="*/ 1464507 w 1581150"/>
              <a:gd name="connsiteY382" fmla="*/ 918934 h 1219200"/>
              <a:gd name="connsiteX383" fmla="*/ 1461916 w 1581150"/>
              <a:gd name="connsiteY383" fmla="*/ 921515 h 1219200"/>
              <a:gd name="connsiteX384" fmla="*/ 1459326 w 1581150"/>
              <a:gd name="connsiteY384" fmla="*/ 921515 h 1219200"/>
              <a:gd name="connsiteX385" fmla="*/ 1456734 w 1581150"/>
              <a:gd name="connsiteY385" fmla="*/ 924106 h 1219200"/>
              <a:gd name="connsiteX386" fmla="*/ 1456734 w 1581150"/>
              <a:gd name="connsiteY386" fmla="*/ 929287 h 1219200"/>
              <a:gd name="connsiteX387" fmla="*/ 1459326 w 1581150"/>
              <a:gd name="connsiteY387" fmla="*/ 931869 h 1219200"/>
              <a:gd name="connsiteX388" fmla="*/ 1461916 w 1581150"/>
              <a:gd name="connsiteY388" fmla="*/ 937050 h 1219200"/>
              <a:gd name="connsiteX389" fmla="*/ 1461916 w 1581150"/>
              <a:gd name="connsiteY389" fmla="*/ 947404 h 1219200"/>
              <a:gd name="connsiteX390" fmla="*/ 1456734 w 1581150"/>
              <a:gd name="connsiteY390" fmla="*/ 952586 h 1219200"/>
              <a:gd name="connsiteX391" fmla="*/ 1451543 w 1581150"/>
              <a:gd name="connsiteY391" fmla="*/ 952586 h 1219200"/>
              <a:gd name="connsiteX392" fmla="*/ 1451543 w 1581150"/>
              <a:gd name="connsiteY392" fmla="*/ 970702 h 1219200"/>
              <a:gd name="connsiteX393" fmla="*/ 1446362 w 1581150"/>
              <a:gd name="connsiteY393" fmla="*/ 970702 h 1219200"/>
              <a:gd name="connsiteX394" fmla="*/ 1441180 w 1581150"/>
              <a:gd name="connsiteY394" fmla="*/ 986228 h 1219200"/>
              <a:gd name="connsiteX395" fmla="*/ 1430807 w 1581150"/>
              <a:gd name="connsiteY395" fmla="*/ 986228 h 1219200"/>
              <a:gd name="connsiteX396" fmla="*/ 1425626 w 1581150"/>
              <a:gd name="connsiteY396" fmla="*/ 999172 h 1219200"/>
              <a:gd name="connsiteX397" fmla="*/ 1417854 w 1581150"/>
              <a:gd name="connsiteY397" fmla="*/ 999172 h 1219200"/>
              <a:gd name="connsiteX398" fmla="*/ 1420444 w 1581150"/>
              <a:gd name="connsiteY398" fmla="*/ 1001763 h 1219200"/>
              <a:gd name="connsiteX399" fmla="*/ 1423035 w 1581150"/>
              <a:gd name="connsiteY399" fmla="*/ 1006945 h 1219200"/>
              <a:gd name="connsiteX400" fmla="*/ 1423035 w 1581150"/>
              <a:gd name="connsiteY400" fmla="*/ 1009526 h 1219200"/>
              <a:gd name="connsiteX401" fmla="*/ 1425626 w 1581150"/>
              <a:gd name="connsiteY401" fmla="*/ 1014708 h 1219200"/>
              <a:gd name="connsiteX402" fmla="*/ 1423035 w 1581150"/>
              <a:gd name="connsiteY402" fmla="*/ 1017299 h 1219200"/>
              <a:gd name="connsiteX403" fmla="*/ 1420444 w 1581150"/>
              <a:gd name="connsiteY403" fmla="*/ 1022471 h 1219200"/>
              <a:gd name="connsiteX404" fmla="*/ 1397118 w 1581150"/>
              <a:gd name="connsiteY404" fmla="*/ 1045769 h 1219200"/>
              <a:gd name="connsiteX405" fmla="*/ 1376382 w 1581150"/>
              <a:gd name="connsiteY405" fmla="*/ 1056123 h 1219200"/>
              <a:gd name="connsiteX406" fmla="*/ 1363418 w 1581150"/>
              <a:gd name="connsiteY406" fmla="*/ 1056123 h 1219200"/>
              <a:gd name="connsiteX407" fmla="*/ 1360827 w 1581150"/>
              <a:gd name="connsiteY407" fmla="*/ 1053532 h 1219200"/>
              <a:gd name="connsiteX408" fmla="*/ 1358236 w 1581150"/>
              <a:gd name="connsiteY408" fmla="*/ 1053532 h 1219200"/>
              <a:gd name="connsiteX409" fmla="*/ 1345273 w 1581150"/>
              <a:gd name="connsiteY409" fmla="*/ 1058713 h 1219200"/>
              <a:gd name="connsiteX410" fmla="*/ 1337500 w 1581150"/>
              <a:gd name="connsiteY410" fmla="*/ 1050950 h 1219200"/>
              <a:gd name="connsiteX411" fmla="*/ 1334910 w 1581150"/>
              <a:gd name="connsiteY411" fmla="*/ 1056123 h 1219200"/>
              <a:gd name="connsiteX412" fmla="*/ 1327128 w 1581150"/>
              <a:gd name="connsiteY412" fmla="*/ 1063885 h 1219200"/>
              <a:gd name="connsiteX413" fmla="*/ 1324537 w 1581150"/>
              <a:gd name="connsiteY413" fmla="*/ 1069067 h 1219200"/>
              <a:gd name="connsiteX414" fmla="*/ 1319356 w 1581150"/>
              <a:gd name="connsiteY414" fmla="*/ 1071658 h 1219200"/>
              <a:gd name="connsiteX415" fmla="*/ 1316764 w 1581150"/>
              <a:gd name="connsiteY415" fmla="*/ 1074239 h 1219200"/>
              <a:gd name="connsiteX416" fmla="*/ 1314174 w 1581150"/>
              <a:gd name="connsiteY416" fmla="*/ 1074239 h 1219200"/>
              <a:gd name="connsiteX417" fmla="*/ 1311573 w 1581150"/>
              <a:gd name="connsiteY417" fmla="*/ 1071658 h 1219200"/>
              <a:gd name="connsiteX418" fmla="*/ 1306392 w 1581150"/>
              <a:gd name="connsiteY418" fmla="*/ 1061304 h 1219200"/>
              <a:gd name="connsiteX419" fmla="*/ 1301210 w 1581150"/>
              <a:gd name="connsiteY419" fmla="*/ 1056123 h 1219200"/>
              <a:gd name="connsiteX420" fmla="*/ 1298620 w 1581150"/>
              <a:gd name="connsiteY420" fmla="*/ 1058713 h 1219200"/>
              <a:gd name="connsiteX421" fmla="*/ 1296029 w 1581150"/>
              <a:gd name="connsiteY421" fmla="*/ 1063885 h 1219200"/>
              <a:gd name="connsiteX422" fmla="*/ 1296029 w 1581150"/>
              <a:gd name="connsiteY422" fmla="*/ 1082011 h 1219200"/>
              <a:gd name="connsiteX423" fmla="*/ 1288247 w 1581150"/>
              <a:gd name="connsiteY423" fmla="*/ 1089774 h 1219200"/>
              <a:gd name="connsiteX424" fmla="*/ 1280474 w 1581150"/>
              <a:gd name="connsiteY424" fmla="*/ 1092365 h 1219200"/>
              <a:gd name="connsiteX425" fmla="*/ 1270102 w 1581150"/>
              <a:gd name="connsiteY425" fmla="*/ 1094946 h 1219200"/>
              <a:gd name="connsiteX426" fmla="*/ 1262329 w 1581150"/>
              <a:gd name="connsiteY426" fmla="*/ 1094946 h 1219200"/>
              <a:gd name="connsiteX427" fmla="*/ 1257148 w 1581150"/>
              <a:gd name="connsiteY427" fmla="*/ 1097537 h 1219200"/>
              <a:gd name="connsiteX428" fmla="*/ 1251957 w 1581150"/>
              <a:gd name="connsiteY428" fmla="*/ 1097537 h 1219200"/>
              <a:gd name="connsiteX429" fmla="*/ 1246775 w 1581150"/>
              <a:gd name="connsiteY429" fmla="*/ 1100128 h 1219200"/>
              <a:gd name="connsiteX430" fmla="*/ 1233811 w 1581150"/>
              <a:gd name="connsiteY430" fmla="*/ 1100128 h 1219200"/>
              <a:gd name="connsiteX431" fmla="*/ 1228630 w 1581150"/>
              <a:gd name="connsiteY431" fmla="*/ 1102719 h 1219200"/>
              <a:gd name="connsiteX432" fmla="*/ 1223448 w 1581150"/>
              <a:gd name="connsiteY432" fmla="*/ 1107891 h 1219200"/>
              <a:gd name="connsiteX433" fmla="*/ 1220858 w 1581150"/>
              <a:gd name="connsiteY433" fmla="*/ 1115663 h 1219200"/>
              <a:gd name="connsiteX434" fmla="*/ 1220858 w 1581150"/>
              <a:gd name="connsiteY434" fmla="*/ 1133780 h 1219200"/>
              <a:gd name="connsiteX435" fmla="*/ 1223448 w 1581150"/>
              <a:gd name="connsiteY435" fmla="*/ 1136371 h 1219200"/>
              <a:gd name="connsiteX436" fmla="*/ 1223448 w 1581150"/>
              <a:gd name="connsiteY436" fmla="*/ 1138952 h 1219200"/>
              <a:gd name="connsiteX437" fmla="*/ 1220858 w 1581150"/>
              <a:gd name="connsiteY437" fmla="*/ 1149305 h 1219200"/>
              <a:gd name="connsiteX438" fmla="*/ 1213075 w 1581150"/>
              <a:gd name="connsiteY438" fmla="*/ 1149305 h 1219200"/>
              <a:gd name="connsiteX439" fmla="*/ 1210485 w 1581150"/>
              <a:gd name="connsiteY439" fmla="*/ 1146724 h 1219200"/>
              <a:gd name="connsiteX440" fmla="*/ 1205303 w 1581150"/>
              <a:gd name="connsiteY440" fmla="*/ 1144133 h 1219200"/>
              <a:gd name="connsiteX441" fmla="*/ 1202712 w 1581150"/>
              <a:gd name="connsiteY441" fmla="*/ 1138952 h 1219200"/>
              <a:gd name="connsiteX442" fmla="*/ 1197530 w 1581150"/>
              <a:gd name="connsiteY442" fmla="*/ 1136371 h 1219200"/>
              <a:gd name="connsiteX443" fmla="*/ 1194940 w 1581150"/>
              <a:gd name="connsiteY443" fmla="*/ 1133780 h 1219200"/>
              <a:gd name="connsiteX444" fmla="*/ 1192339 w 1581150"/>
              <a:gd name="connsiteY444" fmla="*/ 1128598 h 1219200"/>
              <a:gd name="connsiteX445" fmla="*/ 1194940 w 1581150"/>
              <a:gd name="connsiteY445" fmla="*/ 1123426 h 1219200"/>
              <a:gd name="connsiteX446" fmla="*/ 1194940 w 1581150"/>
              <a:gd name="connsiteY446" fmla="*/ 1113073 h 1219200"/>
              <a:gd name="connsiteX447" fmla="*/ 1197530 w 1581150"/>
              <a:gd name="connsiteY447" fmla="*/ 1107891 h 1219200"/>
              <a:gd name="connsiteX448" fmla="*/ 1194940 w 1581150"/>
              <a:gd name="connsiteY448" fmla="*/ 1102719 h 1219200"/>
              <a:gd name="connsiteX449" fmla="*/ 1192339 w 1581150"/>
              <a:gd name="connsiteY449" fmla="*/ 1100128 h 1219200"/>
              <a:gd name="connsiteX450" fmla="*/ 1187158 w 1581150"/>
              <a:gd name="connsiteY450" fmla="*/ 1097537 h 1219200"/>
              <a:gd name="connsiteX451" fmla="*/ 1181976 w 1581150"/>
              <a:gd name="connsiteY451" fmla="*/ 1097537 h 1219200"/>
              <a:gd name="connsiteX452" fmla="*/ 1174195 w 1581150"/>
              <a:gd name="connsiteY452" fmla="*/ 1094946 h 1219200"/>
              <a:gd name="connsiteX453" fmla="*/ 1163831 w 1581150"/>
              <a:gd name="connsiteY453" fmla="*/ 1094946 h 1219200"/>
              <a:gd name="connsiteX454" fmla="*/ 1156059 w 1581150"/>
              <a:gd name="connsiteY454" fmla="*/ 1089774 h 1219200"/>
              <a:gd name="connsiteX455" fmla="*/ 1135313 w 1581150"/>
              <a:gd name="connsiteY455" fmla="*/ 1102719 h 1219200"/>
              <a:gd name="connsiteX456" fmla="*/ 1132723 w 1581150"/>
              <a:gd name="connsiteY456" fmla="*/ 1102719 h 1219200"/>
              <a:gd name="connsiteX457" fmla="*/ 1130132 w 1581150"/>
              <a:gd name="connsiteY457" fmla="*/ 1100128 h 1219200"/>
              <a:gd name="connsiteX458" fmla="*/ 1117178 w 1581150"/>
              <a:gd name="connsiteY458" fmla="*/ 1100128 h 1219200"/>
              <a:gd name="connsiteX459" fmla="*/ 1111987 w 1581150"/>
              <a:gd name="connsiteY459" fmla="*/ 1097537 h 1219200"/>
              <a:gd name="connsiteX460" fmla="*/ 1109396 w 1581150"/>
              <a:gd name="connsiteY460" fmla="*/ 1092365 h 1219200"/>
              <a:gd name="connsiteX461" fmla="*/ 1106805 w 1581150"/>
              <a:gd name="connsiteY461" fmla="*/ 1089774 h 1219200"/>
              <a:gd name="connsiteX462" fmla="*/ 1099032 w 1581150"/>
              <a:gd name="connsiteY462" fmla="*/ 1089774 h 1219200"/>
              <a:gd name="connsiteX463" fmla="*/ 1099032 w 1581150"/>
              <a:gd name="connsiteY463" fmla="*/ 1082011 h 1219200"/>
              <a:gd name="connsiteX464" fmla="*/ 1093841 w 1581150"/>
              <a:gd name="connsiteY464" fmla="*/ 1079421 h 1219200"/>
              <a:gd name="connsiteX465" fmla="*/ 1091251 w 1581150"/>
              <a:gd name="connsiteY465" fmla="*/ 1071658 h 1219200"/>
              <a:gd name="connsiteX466" fmla="*/ 1099032 w 1581150"/>
              <a:gd name="connsiteY466" fmla="*/ 1063885 h 1219200"/>
              <a:gd name="connsiteX467" fmla="*/ 1099032 w 1581150"/>
              <a:gd name="connsiteY467" fmla="*/ 1061304 h 1219200"/>
              <a:gd name="connsiteX468" fmla="*/ 1096442 w 1581150"/>
              <a:gd name="connsiteY468" fmla="*/ 1058713 h 1219200"/>
              <a:gd name="connsiteX469" fmla="*/ 1083478 w 1581150"/>
              <a:gd name="connsiteY469" fmla="*/ 1058713 h 1219200"/>
              <a:gd name="connsiteX470" fmla="*/ 1078296 w 1581150"/>
              <a:gd name="connsiteY470" fmla="*/ 1053532 h 1219200"/>
              <a:gd name="connsiteX471" fmla="*/ 1065333 w 1581150"/>
              <a:gd name="connsiteY471" fmla="*/ 1056123 h 1219200"/>
              <a:gd name="connsiteX472" fmla="*/ 1052370 w 1581150"/>
              <a:gd name="connsiteY472" fmla="*/ 1040587 h 1219200"/>
              <a:gd name="connsiteX473" fmla="*/ 1049779 w 1581150"/>
              <a:gd name="connsiteY473" fmla="*/ 1040587 h 1219200"/>
              <a:gd name="connsiteX474" fmla="*/ 1047188 w 1581150"/>
              <a:gd name="connsiteY474" fmla="*/ 1043178 h 1219200"/>
              <a:gd name="connsiteX475" fmla="*/ 1042006 w 1581150"/>
              <a:gd name="connsiteY475" fmla="*/ 1045769 h 1219200"/>
              <a:gd name="connsiteX476" fmla="*/ 1039416 w 1581150"/>
              <a:gd name="connsiteY476" fmla="*/ 1048360 h 1219200"/>
              <a:gd name="connsiteX477" fmla="*/ 1039416 w 1581150"/>
              <a:gd name="connsiteY477" fmla="*/ 1053532 h 1219200"/>
              <a:gd name="connsiteX478" fmla="*/ 1036825 w 1581150"/>
              <a:gd name="connsiteY478" fmla="*/ 1058713 h 1219200"/>
              <a:gd name="connsiteX479" fmla="*/ 1036825 w 1581150"/>
              <a:gd name="connsiteY479" fmla="*/ 1061304 h 1219200"/>
              <a:gd name="connsiteX480" fmla="*/ 1029043 w 1581150"/>
              <a:gd name="connsiteY480" fmla="*/ 1061304 h 1219200"/>
              <a:gd name="connsiteX481" fmla="*/ 1026452 w 1581150"/>
              <a:gd name="connsiteY481" fmla="*/ 1063885 h 1219200"/>
              <a:gd name="connsiteX482" fmla="*/ 1023861 w 1581150"/>
              <a:gd name="connsiteY482" fmla="*/ 1061304 h 1219200"/>
              <a:gd name="connsiteX483" fmla="*/ 1016079 w 1581150"/>
              <a:gd name="connsiteY483" fmla="*/ 1061304 h 1219200"/>
              <a:gd name="connsiteX484" fmla="*/ 1021270 w 1581150"/>
              <a:gd name="connsiteY484" fmla="*/ 1066476 h 1219200"/>
              <a:gd name="connsiteX485" fmla="*/ 1021270 w 1581150"/>
              <a:gd name="connsiteY485" fmla="*/ 1071658 h 1219200"/>
              <a:gd name="connsiteX486" fmla="*/ 1013489 w 1581150"/>
              <a:gd name="connsiteY486" fmla="*/ 1071658 h 1219200"/>
              <a:gd name="connsiteX487" fmla="*/ 1010898 w 1581150"/>
              <a:gd name="connsiteY487" fmla="*/ 1069067 h 1219200"/>
              <a:gd name="connsiteX488" fmla="*/ 1005716 w 1581150"/>
              <a:gd name="connsiteY488" fmla="*/ 1061304 h 1219200"/>
              <a:gd name="connsiteX489" fmla="*/ 1003125 w 1581150"/>
              <a:gd name="connsiteY489" fmla="*/ 1061304 h 1219200"/>
              <a:gd name="connsiteX490" fmla="*/ 1003125 w 1581150"/>
              <a:gd name="connsiteY490" fmla="*/ 1069067 h 1219200"/>
              <a:gd name="connsiteX491" fmla="*/ 995343 w 1581150"/>
              <a:gd name="connsiteY491" fmla="*/ 1061304 h 1219200"/>
              <a:gd name="connsiteX492" fmla="*/ 992753 w 1581150"/>
              <a:gd name="connsiteY492" fmla="*/ 1063885 h 1219200"/>
              <a:gd name="connsiteX493" fmla="*/ 990162 w 1581150"/>
              <a:gd name="connsiteY493" fmla="*/ 1069067 h 1219200"/>
              <a:gd name="connsiteX494" fmla="*/ 987571 w 1581150"/>
              <a:gd name="connsiteY494" fmla="*/ 1071658 h 1219200"/>
              <a:gd name="connsiteX495" fmla="*/ 982389 w 1581150"/>
              <a:gd name="connsiteY495" fmla="*/ 1071658 h 1219200"/>
              <a:gd name="connsiteX496" fmla="*/ 972017 w 1581150"/>
              <a:gd name="connsiteY496" fmla="*/ 1061304 h 1219200"/>
              <a:gd name="connsiteX497" fmla="*/ 966835 w 1581150"/>
              <a:gd name="connsiteY497" fmla="*/ 1061304 h 1219200"/>
              <a:gd name="connsiteX498" fmla="*/ 964244 w 1581150"/>
              <a:gd name="connsiteY498" fmla="*/ 1066476 h 1219200"/>
              <a:gd name="connsiteX499" fmla="*/ 964244 w 1581150"/>
              <a:gd name="connsiteY499" fmla="*/ 1074239 h 1219200"/>
              <a:gd name="connsiteX500" fmla="*/ 948690 w 1581150"/>
              <a:gd name="connsiteY500" fmla="*/ 1071658 h 1219200"/>
              <a:gd name="connsiteX501" fmla="*/ 946099 w 1581150"/>
              <a:gd name="connsiteY501" fmla="*/ 1074239 h 1219200"/>
              <a:gd name="connsiteX502" fmla="*/ 946099 w 1581150"/>
              <a:gd name="connsiteY502" fmla="*/ 1092365 h 1219200"/>
              <a:gd name="connsiteX503" fmla="*/ 956463 w 1581150"/>
              <a:gd name="connsiteY503" fmla="*/ 1102719 h 1219200"/>
              <a:gd name="connsiteX504" fmla="*/ 956463 w 1581150"/>
              <a:gd name="connsiteY504" fmla="*/ 1118245 h 1219200"/>
              <a:gd name="connsiteX505" fmla="*/ 938327 w 1581150"/>
              <a:gd name="connsiteY505" fmla="*/ 1118245 h 1219200"/>
              <a:gd name="connsiteX506" fmla="*/ 938327 w 1581150"/>
              <a:gd name="connsiteY506" fmla="*/ 1100128 h 1219200"/>
              <a:gd name="connsiteX507" fmla="*/ 935727 w 1581150"/>
              <a:gd name="connsiteY507" fmla="*/ 1097537 h 1219200"/>
              <a:gd name="connsiteX508" fmla="*/ 930545 w 1581150"/>
              <a:gd name="connsiteY508" fmla="*/ 1097537 h 1219200"/>
              <a:gd name="connsiteX509" fmla="*/ 922773 w 1581150"/>
              <a:gd name="connsiteY509" fmla="*/ 1105310 h 1219200"/>
              <a:gd name="connsiteX510" fmla="*/ 922773 w 1581150"/>
              <a:gd name="connsiteY510" fmla="*/ 1107891 h 1219200"/>
              <a:gd name="connsiteX511" fmla="*/ 904627 w 1581150"/>
              <a:gd name="connsiteY511" fmla="*/ 1107891 h 1219200"/>
              <a:gd name="connsiteX512" fmla="*/ 904627 w 1581150"/>
              <a:gd name="connsiteY512" fmla="*/ 1100128 h 1219200"/>
              <a:gd name="connsiteX513" fmla="*/ 899446 w 1581150"/>
              <a:gd name="connsiteY513" fmla="*/ 1100128 h 1219200"/>
              <a:gd name="connsiteX514" fmla="*/ 894255 w 1581150"/>
              <a:gd name="connsiteY514" fmla="*/ 1087184 h 1219200"/>
              <a:gd name="connsiteX515" fmla="*/ 870928 w 1581150"/>
              <a:gd name="connsiteY515" fmla="*/ 1084593 h 1219200"/>
              <a:gd name="connsiteX516" fmla="*/ 873519 w 1581150"/>
              <a:gd name="connsiteY516" fmla="*/ 1079421 h 1219200"/>
              <a:gd name="connsiteX517" fmla="*/ 873519 w 1581150"/>
              <a:gd name="connsiteY517" fmla="*/ 1076830 h 1219200"/>
              <a:gd name="connsiteX518" fmla="*/ 876109 w 1581150"/>
              <a:gd name="connsiteY518" fmla="*/ 1074239 h 1219200"/>
              <a:gd name="connsiteX519" fmla="*/ 876109 w 1581150"/>
              <a:gd name="connsiteY519" fmla="*/ 1069067 h 1219200"/>
              <a:gd name="connsiteX520" fmla="*/ 870928 w 1581150"/>
              <a:gd name="connsiteY520" fmla="*/ 1063885 h 1219200"/>
              <a:gd name="connsiteX521" fmla="*/ 873519 w 1581150"/>
              <a:gd name="connsiteY521" fmla="*/ 1061304 h 1219200"/>
              <a:gd name="connsiteX522" fmla="*/ 878710 w 1581150"/>
              <a:gd name="connsiteY522" fmla="*/ 1061304 h 1219200"/>
              <a:gd name="connsiteX523" fmla="*/ 881301 w 1581150"/>
              <a:gd name="connsiteY523" fmla="*/ 1058713 h 1219200"/>
              <a:gd name="connsiteX524" fmla="*/ 881301 w 1581150"/>
              <a:gd name="connsiteY524" fmla="*/ 1056123 h 1219200"/>
              <a:gd name="connsiteX525" fmla="*/ 878710 w 1581150"/>
              <a:gd name="connsiteY525" fmla="*/ 1053532 h 1219200"/>
              <a:gd name="connsiteX526" fmla="*/ 873519 w 1581150"/>
              <a:gd name="connsiteY526" fmla="*/ 1050950 h 1219200"/>
              <a:gd name="connsiteX527" fmla="*/ 860565 w 1581150"/>
              <a:gd name="connsiteY527" fmla="*/ 1050950 h 1219200"/>
              <a:gd name="connsiteX528" fmla="*/ 855373 w 1581150"/>
              <a:gd name="connsiteY528" fmla="*/ 1032824 h 1219200"/>
              <a:gd name="connsiteX529" fmla="*/ 845011 w 1581150"/>
              <a:gd name="connsiteY529" fmla="*/ 1025062 h 1219200"/>
              <a:gd name="connsiteX530" fmla="*/ 857965 w 1581150"/>
              <a:gd name="connsiteY530" fmla="*/ 1014708 h 1219200"/>
              <a:gd name="connsiteX531" fmla="*/ 832047 w 1581150"/>
              <a:gd name="connsiteY531" fmla="*/ 1014708 h 1219200"/>
              <a:gd name="connsiteX532" fmla="*/ 829456 w 1581150"/>
              <a:gd name="connsiteY532" fmla="*/ 1017299 h 1219200"/>
              <a:gd name="connsiteX533" fmla="*/ 824275 w 1581150"/>
              <a:gd name="connsiteY533" fmla="*/ 1017299 h 1219200"/>
              <a:gd name="connsiteX534" fmla="*/ 821684 w 1581150"/>
              <a:gd name="connsiteY534" fmla="*/ 1019880 h 1219200"/>
              <a:gd name="connsiteX535" fmla="*/ 816493 w 1581150"/>
              <a:gd name="connsiteY535" fmla="*/ 1022471 h 1219200"/>
              <a:gd name="connsiteX536" fmla="*/ 821684 w 1581150"/>
              <a:gd name="connsiteY536" fmla="*/ 1014708 h 1219200"/>
              <a:gd name="connsiteX537" fmla="*/ 819093 w 1581150"/>
              <a:gd name="connsiteY537" fmla="*/ 1009526 h 1219200"/>
              <a:gd name="connsiteX538" fmla="*/ 811311 w 1581150"/>
              <a:gd name="connsiteY538" fmla="*/ 1001763 h 1219200"/>
              <a:gd name="connsiteX539" fmla="*/ 811311 w 1581150"/>
              <a:gd name="connsiteY539" fmla="*/ 994000 h 1219200"/>
              <a:gd name="connsiteX540" fmla="*/ 816493 w 1581150"/>
              <a:gd name="connsiteY540" fmla="*/ 994000 h 1219200"/>
              <a:gd name="connsiteX541" fmla="*/ 813902 w 1581150"/>
              <a:gd name="connsiteY541" fmla="*/ 981056 h 1219200"/>
              <a:gd name="connsiteX542" fmla="*/ 819093 w 1581150"/>
              <a:gd name="connsiteY542" fmla="*/ 981056 h 1219200"/>
              <a:gd name="connsiteX543" fmla="*/ 821684 w 1581150"/>
              <a:gd name="connsiteY543" fmla="*/ 978465 h 1219200"/>
              <a:gd name="connsiteX544" fmla="*/ 821684 w 1581150"/>
              <a:gd name="connsiteY544" fmla="*/ 962940 h 1219200"/>
              <a:gd name="connsiteX545" fmla="*/ 824275 w 1581150"/>
              <a:gd name="connsiteY545" fmla="*/ 965521 h 1219200"/>
              <a:gd name="connsiteX546" fmla="*/ 829456 w 1581150"/>
              <a:gd name="connsiteY546" fmla="*/ 965521 h 1219200"/>
              <a:gd name="connsiteX547" fmla="*/ 832047 w 1581150"/>
              <a:gd name="connsiteY547" fmla="*/ 962940 h 1219200"/>
              <a:gd name="connsiteX548" fmla="*/ 834637 w 1581150"/>
              <a:gd name="connsiteY548" fmla="*/ 957758 h 1219200"/>
              <a:gd name="connsiteX549" fmla="*/ 834637 w 1581150"/>
              <a:gd name="connsiteY549" fmla="*/ 955167 h 1219200"/>
              <a:gd name="connsiteX550" fmla="*/ 826865 w 1581150"/>
              <a:gd name="connsiteY550" fmla="*/ 947404 h 1219200"/>
              <a:gd name="connsiteX551" fmla="*/ 832047 w 1581150"/>
              <a:gd name="connsiteY551" fmla="*/ 947404 h 1219200"/>
              <a:gd name="connsiteX552" fmla="*/ 834637 w 1581150"/>
              <a:gd name="connsiteY552" fmla="*/ 944813 h 1219200"/>
              <a:gd name="connsiteX553" fmla="*/ 839829 w 1581150"/>
              <a:gd name="connsiteY553" fmla="*/ 944813 h 1219200"/>
              <a:gd name="connsiteX554" fmla="*/ 834637 w 1581150"/>
              <a:gd name="connsiteY554" fmla="*/ 918934 h 1219200"/>
              <a:gd name="connsiteX555" fmla="*/ 829456 w 1581150"/>
              <a:gd name="connsiteY555" fmla="*/ 908580 h 1219200"/>
              <a:gd name="connsiteX556" fmla="*/ 829456 w 1581150"/>
              <a:gd name="connsiteY556" fmla="*/ 895636 h 1219200"/>
              <a:gd name="connsiteX557" fmla="*/ 826865 w 1581150"/>
              <a:gd name="connsiteY557" fmla="*/ 893045 h 1219200"/>
              <a:gd name="connsiteX558" fmla="*/ 811311 w 1581150"/>
              <a:gd name="connsiteY558" fmla="*/ 893045 h 1219200"/>
              <a:gd name="connsiteX559" fmla="*/ 811311 w 1581150"/>
              <a:gd name="connsiteY559" fmla="*/ 890454 h 1219200"/>
              <a:gd name="connsiteX560" fmla="*/ 808720 w 1581150"/>
              <a:gd name="connsiteY560" fmla="*/ 887863 h 1219200"/>
              <a:gd name="connsiteX561" fmla="*/ 800948 w 1581150"/>
              <a:gd name="connsiteY561" fmla="*/ 872338 h 1219200"/>
              <a:gd name="connsiteX562" fmla="*/ 795757 w 1581150"/>
              <a:gd name="connsiteY562" fmla="*/ 869747 h 1219200"/>
              <a:gd name="connsiteX563" fmla="*/ 793166 w 1581150"/>
              <a:gd name="connsiteY563" fmla="*/ 864575 h 1219200"/>
              <a:gd name="connsiteX564" fmla="*/ 790575 w 1581150"/>
              <a:gd name="connsiteY564" fmla="*/ 861984 h 1219200"/>
              <a:gd name="connsiteX565" fmla="*/ 787984 w 1581150"/>
              <a:gd name="connsiteY565" fmla="*/ 861984 h 1219200"/>
              <a:gd name="connsiteX566" fmla="*/ 785393 w 1581150"/>
              <a:gd name="connsiteY566" fmla="*/ 869747 h 1219200"/>
              <a:gd name="connsiteX567" fmla="*/ 782803 w 1581150"/>
              <a:gd name="connsiteY567" fmla="*/ 869747 h 1219200"/>
              <a:gd name="connsiteX568" fmla="*/ 780212 w 1581150"/>
              <a:gd name="connsiteY568" fmla="*/ 867156 h 1219200"/>
              <a:gd name="connsiteX569" fmla="*/ 751694 w 1581150"/>
              <a:gd name="connsiteY569" fmla="*/ 867156 h 1219200"/>
              <a:gd name="connsiteX570" fmla="*/ 751694 w 1581150"/>
              <a:gd name="connsiteY570" fmla="*/ 864575 h 1219200"/>
              <a:gd name="connsiteX571" fmla="*/ 756875 w 1581150"/>
              <a:gd name="connsiteY571" fmla="*/ 859393 h 1219200"/>
              <a:gd name="connsiteX572" fmla="*/ 759466 w 1581150"/>
              <a:gd name="connsiteY572" fmla="*/ 859393 h 1219200"/>
              <a:gd name="connsiteX573" fmla="*/ 751694 w 1581150"/>
              <a:gd name="connsiteY573" fmla="*/ 846449 h 1219200"/>
              <a:gd name="connsiteX574" fmla="*/ 738731 w 1581150"/>
              <a:gd name="connsiteY574" fmla="*/ 846449 h 1219200"/>
              <a:gd name="connsiteX575" fmla="*/ 736139 w 1581150"/>
              <a:gd name="connsiteY575" fmla="*/ 843867 h 1219200"/>
              <a:gd name="connsiteX576" fmla="*/ 738731 w 1581150"/>
              <a:gd name="connsiteY576" fmla="*/ 843867 h 1219200"/>
              <a:gd name="connsiteX577" fmla="*/ 743921 w 1581150"/>
              <a:gd name="connsiteY577" fmla="*/ 838686 h 1219200"/>
              <a:gd name="connsiteX578" fmla="*/ 741331 w 1581150"/>
              <a:gd name="connsiteY578" fmla="*/ 836095 h 1219200"/>
              <a:gd name="connsiteX579" fmla="*/ 725777 w 1581150"/>
              <a:gd name="connsiteY579" fmla="*/ 828332 h 1219200"/>
              <a:gd name="connsiteX580" fmla="*/ 720595 w 1581150"/>
              <a:gd name="connsiteY580" fmla="*/ 833504 h 1219200"/>
              <a:gd name="connsiteX581" fmla="*/ 720595 w 1581150"/>
              <a:gd name="connsiteY581" fmla="*/ 843867 h 1219200"/>
              <a:gd name="connsiteX582" fmla="*/ 712813 w 1581150"/>
              <a:gd name="connsiteY582" fmla="*/ 843867 h 1219200"/>
              <a:gd name="connsiteX583" fmla="*/ 705041 w 1581150"/>
              <a:gd name="connsiteY583" fmla="*/ 838686 h 1219200"/>
              <a:gd name="connsiteX584" fmla="*/ 699849 w 1581150"/>
              <a:gd name="connsiteY584" fmla="*/ 836095 h 1219200"/>
              <a:gd name="connsiteX585" fmla="*/ 692077 w 1581150"/>
              <a:gd name="connsiteY585" fmla="*/ 836095 h 1219200"/>
              <a:gd name="connsiteX586" fmla="*/ 686895 w 1581150"/>
              <a:gd name="connsiteY586" fmla="*/ 841277 h 1219200"/>
              <a:gd name="connsiteX587" fmla="*/ 681714 w 1581150"/>
              <a:gd name="connsiteY587" fmla="*/ 843867 h 1219200"/>
              <a:gd name="connsiteX588" fmla="*/ 671341 w 1581150"/>
              <a:gd name="connsiteY588" fmla="*/ 854221 h 1219200"/>
              <a:gd name="connsiteX589" fmla="*/ 655787 w 1581150"/>
              <a:gd name="connsiteY589" fmla="*/ 854221 h 1219200"/>
              <a:gd name="connsiteX590" fmla="*/ 655787 w 1581150"/>
              <a:gd name="connsiteY590" fmla="*/ 856802 h 1219200"/>
              <a:gd name="connsiteX591" fmla="*/ 658377 w 1581150"/>
              <a:gd name="connsiteY591" fmla="*/ 859393 h 1219200"/>
              <a:gd name="connsiteX592" fmla="*/ 658377 w 1581150"/>
              <a:gd name="connsiteY592" fmla="*/ 869747 h 1219200"/>
              <a:gd name="connsiteX593" fmla="*/ 655787 w 1581150"/>
              <a:gd name="connsiteY593" fmla="*/ 872338 h 1219200"/>
              <a:gd name="connsiteX594" fmla="*/ 642833 w 1581150"/>
              <a:gd name="connsiteY594" fmla="*/ 872338 h 1219200"/>
              <a:gd name="connsiteX595" fmla="*/ 645423 w 1581150"/>
              <a:gd name="connsiteY595" fmla="*/ 877510 h 1219200"/>
              <a:gd name="connsiteX596" fmla="*/ 645423 w 1581150"/>
              <a:gd name="connsiteY596" fmla="*/ 885282 h 1219200"/>
              <a:gd name="connsiteX597" fmla="*/ 640232 w 1581150"/>
              <a:gd name="connsiteY597" fmla="*/ 890454 h 1219200"/>
              <a:gd name="connsiteX598" fmla="*/ 616906 w 1581150"/>
              <a:gd name="connsiteY598" fmla="*/ 890454 h 1219200"/>
              <a:gd name="connsiteX599" fmla="*/ 616906 w 1581150"/>
              <a:gd name="connsiteY599" fmla="*/ 887863 h 1219200"/>
              <a:gd name="connsiteX600" fmla="*/ 614315 w 1581150"/>
              <a:gd name="connsiteY600" fmla="*/ 882691 h 1219200"/>
              <a:gd name="connsiteX601" fmla="*/ 609133 w 1581150"/>
              <a:gd name="connsiteY601" fmla="*/ 877510 h 1219200"/>
              <a:gd name="connsiteX602" fmla="*/ 603952 w 1581150"/>
              <a:gd name="connsiteY602" fmla="*/ 874928 h 1219200"/>
              <a:gd name="connsiteX603" fmla="*/ 598761 w 1581150"/>
              <a:gd name="connsiteY603" fmla="*/ 874928 h 1219200"/>
              <a:gd name="connsiteX604" fmla="*/ 593579 w 1581150"/>
              <a:gd name="connsiteY604" fmla="*/ 877510 h 1219200"/>
              <a:gd name="connsiteX605" fmla="*/ 588397 w 1581150"/>
              <a:gd name="connsiteY605" fmla="*/ 877510 h 1219200"/>
              <a:gd name="connsiteX606" fmla="*/ 583216 w 1581150"/>
              <a:gd name="connsiteY606" fmla="*/ 880100 h 1219200"/>
              <a:gd name="connsiteX607" fmla="*/ 580615 w 1581150"/>
              <a:gd name="connsiteY607" fmla="*/ 882691 h 1219200"/>
              <a:gd name="connsiteX608" fmla="*/ 578025 w 1581150"/>
              <a:gd name="connsiteY608" fmla="*/ 882691 h 1219200"/>
              <a:gd name="connsiteX609" fmla="*/ 578025 w 1581150"/>
              <a:gd name="connsiteY609" fmla="*/ 872338 h 1219200"/>
              <a:gd name="connsiteX610" fmla="*/ 567661 w 1581150"/>
              <a:gd name="connsiteY610" fmla="*/ 872338 h 1219200"/>
              <a:gd name="connsiteX611" fmla="*/ 562470 w 1581150"/>
              <a:gd name="connsiteY611" fmla="*/ 869747 h 1219200"/>
              <a:gd name="connsiteX612" fmla="*/ 557289 w 1581150"/>
              <a:gd name="connsiteY612" fmla="*/ 869747 h 1219200"/>
              <a:gd name="connsiteX613" fmla="*/ 554698 w 1581150"/>
              <a:gd name="connsiteY613" fmla="*/ 874928 h 1219200"/>
              <a:gd name="connsiteX614" fmla="*/ 549516 w 1581150"/>
              <a:gd name="connsiteY614" fmla="*/ 880100 h 1219200"/>
              <a:gd name="connsiteX615" fmla="*/ 546925 w 1581150"/>
              <a:gd name="connsiteY615" fmla="*/ 885282 h 1219200"/>
              <a:gd name="connsiteX616" fmla="*/ 541734 w 1581150"/>
              <a:gd name="connsiteY616" fmla="*/ 893045 h 1219200"/>
              <a:gd name="connsiteX617" fmla="*/ 539144 w 1581150"/>
              <a:gd name="connsiteY617" fmla="*/ 898227 h 1219200"/>
              <a:gd name="connsiteX618" fmla="*/ 536553 w 1581150"/>
              <a:gd name="connsiteY618" fmla="*/ 900808 h 1219200"/>
              <a:gd name="connsiteX619" fmla="*/ 536553 w 1581150"/>
              <a:gd name="connsiteY619" fmla="*/ 903399 h 1219200"/>
              <a:gd name="connsiteX620" fmla="*/ 533962 w 1581150"/>
              <a:gd name="connsiteY620" fmla="*/ 903399 h 1219200"/>
              <a:gd name="connsiteX621" fmla="*/ 531371 w 1581150"/>
              <a:gd name="connsiteY621" fmla="*/ 900808 h 1219200"/>
              <a:gd name="connsiteX622" fmla="*/ 531371 w 1581150"/>
              <a:gd name="connsiteY622" fmla="*/ 880100 h 1219200"/>
              <a:gd name="connsiteX623" fmla="*/ 528781 w 1581150"/>
              <a:gd name="connsiteY623" fmla="*/ 877510 h 1219200"/>
              <a:gd name="connsiteX624" fmla="*/ 523599 w 1581150"/>
              <a:gd name="connsiteY624" fmla="*/ 874928 h 1219200"/>
              <a:gd name="connsiteX625" fmla="*/ 520998 w 1581150"/>
              <a:gd name="connsiteY625" fmla="*/ 874928 h 1219200"/>
              <a:gd name="connsiteX626" fmla="*/ 515817 w 1581150"/>
              <a:gd name="connsiteY626" fmla="*/ 877510 h 1219200"/>
              <a:gd name="connsiteX627" fmla="*/ 508045 w 1581150"/>
              <a:gd name="connsiteY627" fmla="*/ 880100 h 1219200"/>
              <a:gd name="connsiteX628" fmla="*/ 500263 w 1581150"/>
              <a:gd name="connsiteY628" fmla="*/ 887863 h 1219200"/>
              <a:gd name="connsiteX629" fmla="*/ 489899 w 1581150"/>
              <a:gd name="connsiteY629" fmla="*/ 887863 h 1219200"/>
              <a:gd name="connsiteX630" fmla="*/ 479527 w 1581150"/>
              <a:gd name="connsiteY630" fmla="*/ 882691 h 1219200"/>
              <a:gd name="connsiteX631" fmla="*/ 471754 w 1581150"/>
              <a:gd name="connsiteY631" fmla="*/ 880100 h 1219200"/>
              <a:gd name="connsiteX632" fmla="*/ 469163 w 1581150"/>
              <a:gd name="connsiteY632" fmla="*/ 877510 h 1219200"/>
              <a:gd name="connsiteX633" fmla="*/ 463982 w 1581150"/>
              <a:gd name="connsiteY633" fmla="*/ 874928 h 1219200"/>
              <a:gd name="connsiteX634" fmla="*/ 463982 w 1581150"/>
              <a:gd name="connsiteY634" fmla="*/ 877510 h 1219200"/>
              <a:gd name="connsiteX635" fmla="*/ 461382 w 1581150"/>
              <a:gd name="connsiteY635" fmla="*/ 880100 h 1219200"/>
              <a:gd name="connsiteX636" fmla="*/ 453609 w 1581150"/>
              <a:gd name="connsiteY636" fmla="*/ 880100 h 1219200"/>
              <a:gd name="connsiteX637" fmla="*/ 451018 w 1581150"/>
              <a:gd name="connsiteY637" fmla="*/ 877510 h 1219200"/>
              <a:gd name="connsiteX638" fmla="*/ 451018 w 1581150"/>
              <a:gd name="connsiteY638" fmla="*/ 874928 h 1219200"/>
              <a:gd name="connsiteX639" fmla="*/ 445837 w 1581150"/>
              <a:gd name="connsiteY639" fmla="*/ 880100 h 1219200"/>
              <a:gd name="connsiteX640" fmla="*/ 440646 w 1581150"/>
              <a:gd name="connsiteY640" fmla="*/ 880100 h 1219200"/>
              <a:gd name="connsiteX641" fmla="*/ 438055 w 1581150"/>
              <a:gd name="connsiteY641" fmla="*/ 877510 h 1219200"/>
              <a:gd name="connsiteX642" fmla="*/ 438055 w 1581150"/>
              <a:gd name="connsiteY642" fmla="*/ 869747 h 1219200"/>
              <a:gd name="connsiteX643" fmla="*/ 435464 w 1581150"/>
              <a:gd name="connsiteY643" fmla="*/ 869747 h 1219200"/>
              <a:gd name="connsiteX644" fmla="*/ 432873 w 1581150"/>
              <a:gd name="connsiteY644" fmla="*/ 872338 h 1219200"/>
              <a:gd name="connsiteX645" fmla="*/ 427691 w 1581150"/>
              <a:gd name="connsiteY645" fmla="*/ 872338 h 1219200"/>
              <a:gd name="connsiteX646" fmla="*/ 419910 w 1581150"/>
              <a:gd name="connsiteY646" fmla="*/ 869747 h 1219200"/>
              <a:gd name="connsiteX647" fmla="*/ 417319 w 1581150"/>
              <a:gd name="connsiteY647" fmla="*/ 867156 h 1219200"/>
              <a:gd name="connsiteX648" fmla="*/ 414728 w 1581150"/>
              <a:gd name="connsiteY648" fmla="*/ 867156 h 1219200"/>
              <a:gd name="connsiteX649" fmla="*/ 414728 w 1581150"/>
              <a:gd name="connsiteY649" fmla="*/ 864575 h 1219200"/>
              <a:gd name="connsiteX650" fmla="*/ 417319 w 1581150"/>
              <a:gd name="connsiteY650" fmla="*/ 861984 h 1219200"/>
              <a:gd name="connsiteX651" fmla="*/ 417319 w 1581150"/>
              <a:gd name="connsiteY651" fmla="*/ 859393 h 1219200"/>
              <a:gd name="connsiteX652" fmla="*/ 414728 w 1581150"/>
              <a:gd name="connsiteY652" fmla="*/ 856802 h 1219200"/>
              <a:gd name="connsiteX653" fmla="*/ 412137 w 1581150"/>
              <a:gd name="connsiteY653" fmla="*/ 856802 h 1219200"/>
              <a:gd name="connsiteX654" fmla="*/ 406955 w 1581150"/>
              <a:gd name="connsiteY654" fmla="*/ 859393 h 1219200"/>
              <a:gd name="connsiteX655" fmla="*/ 404365 w 1581150"/>
              <a:gd name="connsiteY655" fmla="*/ 861984 h 1219200"/>
              <a:gd name="connsiteX656" fmla="*/ 399174 w 1581150"/>
              <a:gd name="connsiteY656" fmla="*/ 859393 h 1219200"/>
              <a:gd name="connsiteX657" fmla="*/ 386219 w 1581150"/>
              <a:gd name="connsiteY657" fmla="*/ 846449 h 1219200"/>
              <a:gd name="connsiteX658" fmla="*/ 386219 w 1581150"/>
              <a:gd name="connsiteY658" fmla="*/ 838686 h 1219200"/>
              <a:gd name="connsiteX659" fmla="*/ 383620 w 1581150"/>
              <a:gd name="connsiteY659" fmla="*/ 833504 h 1219200"/>
              <a:gd name="connsiteX660" fmla="*/ 381029 w 1581150"/>
              <a:gd name="connsiteY660" fmla="*/ 830923 h 1219200"/>
              <a:gd name="connsiteX661" fmla="*/ 375847 w 1581150"/>
              <a:gd name="connsiteY661" fmla="*/ 830923 h 1219200"/>
              <a:gd name="connsiteX662" fmla="*/ 373256 w 1581150"/>
              <a:gd name="connsiteY662" fmla="*/ 836095 h 1219200"/>
              <a:gd name="connsiteX663" fmla="*/ 370665 w 1581150"/>
              <a:gd name="connsiteY663" fmla="*/ 838686 h 1219200"/>
              <a:gd name="connsiteX664" fmla="*/ 370665 w 1581150"/>
              <a:gd name="connsiteY664" fmla="*/ 841277 h 1219200"/>
              <a:gd name="connsiteX665" fmla="*/ 365484 w 1581150"/>
              <a:gd name="connsiteY665" fmla="*/ 841277 h 1219200"/>
              <a:gd name="connsiteX666" fmla="*/ 365484 w 1581150"/>
              <a:gd name="connsiteY666" fmla="*/ 836095 h 1219200"/>
              <a:gd name="connsiteX667" fmla="*/ 362884 w 1581150"/>
              <a:gd name="connsiteY667" fmla="*/ 833504 h 1219200"/>
              <a:gd name="connsiteX668" fmla="*/ 360293 w 1581150"/>
              <a:gd name="connsiteY668" fmla="*/ 828332 h 1219200"/>
              <a:gd name="connsiteX669" fmla="*/ 357702 w 1581150"/>
              <a:gd name="connsiteY669" fmla="*/ 825741 h 1219200"/>
              <a:gd name="connsiteX670" fmla="*/ 355111 w 1581150"/>
              <a:gd name="connsiteY670" fmla="*/ 820569 h 1219200"/>
              <a:gd name="connsiteX671" fmla="*/ 336966 w 1581150"/>
              <a:gd name="connsiteY671" fmla="*/ 817979 h 1219200"/>
              <a:gd name="connsiteX672" fmla="*/ 329193 w 1581150"/>
              <a:gd name="connsiteY672" fmla="*/ 810216 h 1219200"/>
              <a:gd name="connsiteX673" fmla="*/ 324002 w 1581150"/>
              <a:gd name="connsiteY673" fmla="*/ 807625 h 1219200"/>
              <a:gd name="connsiteX674" fmla="*/ 321412 w 1581150"/>
              <a:gd name="connsiteY674" fmla="*/ 802443 h 1219200"/>
              <a:gd name="connsiteX675" fmla="*/ 316230 w 1581150"/>
              <a:gd name="connsiteY675" fmla="*/ 797271 h 1219200"/>
              <a:gd name="connsiteX676" fmla="*/ 311048 w 1581150"/>
              <a:gd name="connsiteY676" fmla="*/ 794680 h 1219200"/>
              <a:gd name="connsiteX677" fmla="*/ 305867 w 1581150"/>
              <a:gd name="connsiteY677" fmla="*/ 794680 h 1219200"/>
              <a:gd name="connsiteX678" fmla="*/ 300676 w 1581150"/>
              <a:gd name="connsiteY678" fmla="*/ 797271 h 1219200"/>
              <a:gd name="connsiteX679" fmla="*/ 298085 w 1581150"/>
              <a:gd name="connsiteY679" fmla="*/ 799862 h 1219200"/>
              <a:gd name="connsiteX680" fmla="*/ 287721 w 1581150"/>
              <a:gd name="connsiteY680" fmla="*/ 807625 h 1219200"/>
              <a:gd name="connsiteX681" fmla="*/ 269577 w 1581150"/>
              <a:gd name="connsiteY681" fmla="*/ 792089 h 1219200"/>
              <a:gd name="connsiteX682" fmla="*/ 264386 w 1581150"/>
              <a:gd name="connsiteY682" fmla="*/ 792089 h 1219200"/>
              <a:gd name="connsiteX683" fmla="*/ 259204 w 1581150"/>
              <a:gd name="connsiteY683" fmla="*/ 789508 h 1219200"/>
              <a:gd name="connsiteX684" fmla="*/ 259204 w 1581150"/>
              <a:gd name="connsiteY684" fmla="*/ 781736 h 1219200"/>
              <a:gd name="connsiteX685" fmla="*/ 251431 w 1581150"/>
              <a:gd name="connsiteY685" fmla="*/ 784327 h 1219200"/>
              <a:gd name="connsiteX686" fmla="*/ 243650 w 1581150"/>
              <a:gd name="connsiteY686" fmla="*/ 776564 h 1219200"/>
              <a:gd name="connsiteX687" fmla="*/ 241059 w 1581150"/>
              <a:gd name="connsiteY687" fmla="*/ 776564 h 1219200"/>
              <a:gd name="connsiteX688" fmla="*/ 238468 w 1581150"/>
              <a:gd name="connsiteY688" fmla="*/ 773973 h 1219200"/>
              <a:gd name="connsiteX689" fmla="*/ 233286 w 1581150"/>
              <a:gd name="connsiteY689" fmla="*/ 773973 h 1219200"/>
              <a:gd name="connsiteX690" fmla="*/ 228105 w 1581150"/>
              <a:gd name="connsiteY690" fmla="*/ 771382 h 1219200"/>
              <a:gd name="connsiteX691" fmla="*/ 222914 w 1581150"/>
              <a:gd name="connsiteY691" fmla="*/ 766210 h 1219200"/>
              <a:gd name="connsiteX692" fmla="*/ 220323 w 1581150"/>
              <a:gd name="connsiteY692" fmla="*/ 761029 h 1219200"/>
              <a:gd name="connsiteX693" fmla="*/ 207369 w 1581150"/>
              <a:gd name="connsiteY693" fmla="*/ 761029 h 1219200"/>
              <a:gd name="connsiteX694" fmla="*/ 204768 w 1581150"/>
              <a:gd name="connsiteY694" fmla="*/ 758438 h 1219200"/>
              <a:gd name="connsiteX695" fmla="*/ 204768 w 1581150"/>
              <a:gd name="connsiteY695" fmla="*/ 750675 h 1219200"/>
              <a:gd name="connsiteX696" fmla="*/ 207369 w 1581150"/>
              <a:gd name="connsiteY696" fmla="*/ 748084 h 1219200"/>
              <a:gd name="connsiteX697" fmla="*/ 207369 w 1581150"/>
              <a:gd name="connsiteY697" fmla="*/ 742912 h 1219200"/>
              <a:gd name="connsiteX698" fmla="*/ 204768 w 1581150"/>
              <a:gd name="connsiteY698" fmla="*/ 742912 h 1219200"/>
              <a:gd name="connsiteX699" fmla="*/ 199587 w 1581150"/>
              <a:gd name="connsiteY699" fmla="*/ 737730 h 1219200"/>
              <a:gd name="connsiteX700" fmla="*/ 196996 w 1581150"/>
              <a:gd name="connsiteY700" fmla="*/ 732558 h 1219200"/>
              <a:gd name="connsiteX701" fmla="*/ 194405 w 1581150"/>
              <a:gd name="connsiteY701" fmla="*/ 729967 h 1219200"/>
              <a:gd name="connsiteX702" fmla="*/ 194405 w 1581150"/>
              <a:gd name="connsiteY702" fmla="*/ 722204 h 1219200"/>
              <a:gd name="connsiteX703" fmla="*/ 196996 w 1581150"/>
              <a:gd name="connsiteY703" fmla="*/ 722204 h 1219200"/>
              <a:gd name="connsiteX704" fmla="*/ 199587 w 1581150"/>
              <a:gd name="connsiteY704" fmla="*/ 719614 h 1219200"/>
              <a:gd name="connsiteX705" fmla="*/ 204768 w 1581150"/>
              <a:gd name="connsiteY705" fmla="*/ 719614 h 1219200"/>
              <a:gd name="connsiteX706" fmla="*/ 204768 w 1581150"/>
              <a:gd name="connsiteY706" fmla="*/ 727377 h 1219200"/>
              <a:gd name="connsiteX707" fmla="*/ 209960 w 1581150"/>
              <a:gd name="connsiteY707" fmla="*/ 732558 h 1219200"/>
              <a:gd name="connsiteX708" fmla="*/ 215141 w 1581150"/>
              <a:gd name="connsiteY708" fmla="*/ 724786 h 1219200"/>
              <a:gd name="connsiteX709" fmla="*/ 217732 w 1581150"/>
              <a:gd name="connsiteY709" fmla="*/ 724786 h 1219200"/>
              <a:gd name="connsiteX710" fmla="*/ 220323 w 1581150"/>
              <a:gd name="connsiteY710" fmla="*/ 722204 h 1219200"/>
              <a:gd name="connsiteX711" fmla="*/ 225504 w 1581150"/>
              <a:gd name="connsiteY711" fmla="*/ 719614 h 1219200"/>
              <a:gd name="connsiteX712" fmla="*/ 225504 w 1581150"/>
              <a:gd name="connsiteY712" fmla="*/ 714432 h 1219200"/>
              <a:gd name="connsiteX713" fmla="*/ 217732 w 1581150"/>
              <a:gd name="connsiteY713" fmla="*/ 706669 h 1219200"/>
              <a:gd name="connsiteX714" fmla="*/ 215141 w 1581150"/>
              <a:gd name="connsiteY714" fmla="*/ 701497 h 1219200"/>
              <a:gd name="connsiteX715" fmla="*/ 212550 w 1581150"/>
              <a:gd name="connsiteY715" fmla="*/ 698906 h 1219200"/>
              <a:gd name="connsiteX716" fmla="*/ 207369 w 1581150"/>
              <a:gd name="connsiteY716" fmla="*/ 698906 h 1219200"/>
              <a:gd name="connsiteX717" fmla="*/ 196996 w 1581150"/>
              <a:gd name="connsiteY717" fmla="*/ 693725 h 1219200"/>
              <a:gd name="connsiteX718" fmla="*/ 196996 w 1581150"/>
              <a:gd name="connsiteY718" fmla="*/ 683371 h 1219200"/>
              <a:gd name="connsiteX719" fmla="*/ 204768 w 1581150"/>
              <a:gd name="connsiteY719" fmla="*/ 680790 h 1219200"/>
              <a:gd name="connsiteX720" fmla="*/ 196996 w 1581150"/>
              <a:gd name="connsiteY720" fmla="*/ 670427 h 1219200"/>
              <a:gd name="connsiteX721" fmla="*/ 209960 w 1581150"/>
              <a:gd name="connsiteY721" fmla="*/ 670427 h 1219200"/>
              <a:gd name="connsiteX722" fmla="*/ 215141 w 1581150"/>
              <a:gd name="connsiteY722" fmla="*/ 667845 h 1219200"/>
              <a:gd name="connsiteX723" fmla="*/ 217732 w 1581150"/>
              <a:gd name="connsiteY723" fmla="*/ 662664 h 1219200"/>
              <a:gd name="connsiteX724" fmla="*/ 217732 w 1581150"/>
              <a:gd name="connsiteY724" fmla="*/ 652310 h 1219200"/>
              <a:gd name="connsiteX725" fmla="*/ 215141 w 1581150"/>
              <a:gd name="connsiteY725" fmla="*/ 649719 h 1219200"/>
              <a:gd name="connsiteX726" fmla="*/ 215141 w 1581150"/>
              <a:gd name="connsiteY726" fmla="*/ 647138 h 1219200"/>
              <a:gd name="connsiteX727" fmla="*/ 222914 w 1581150"/>
              <a:gd name="connsiteY727" fmla="*/ 647138 h 1219200"/>
              <a:gd name="connsiteX728" fmla="*/ 225504 w 1581150"/>
              <a:gd name="connsiteY728" fmla="*/ 644547 h 1219200"/>
              <a:gd name="connsiteX729" fmla="*/ 225504 w 1581150"/>
              <a:gd name="connsiteY729" fmla="*/ 618658 h 1219200"/>
              <a:gd name="connsiteX730" fmla="*/ 207369 w 1581150"/>
              <a:gd name="connsiteY730" fmla="*/ 618658 h 1219200"/>
              <a:gd name="connsiteX731" fmla="*/ 196996 w 1581150"/>
              <a:gd name="connsiteY731" fmla="*/ 608305 h 1219200"/>
              <a:gd name="connsiteX732" fmla="*/ 189224 w 1581150"/>
              <a:gd name="connsiteY732" fmla="*/ 603133 h 1219200"/>
              <a:gd name="connsiteX733" fmla="*/ 184032 w 1581150"/>
              <a:gd name="connsiteY733" fmla="*/ 603133 h 1219200"/>
              <a:gd name="connsiteX734" fmla="*/ 173669 w 1581150"/>
              <a:gd name="connsiteY734" fmla="*/ 608305 h 1219200"/>
              <a:gd name="connsiteX735" fmla="*/ 165888 w 1581150"/>
              <a:gd name="connsiteY735" fmla="*/ 610895 h 1219200"/>
              <a:gd name="connsiteX736" fmla="*/ 163296 w 1581150"/>
              <a:gd name="connsiteY736" fmla="*/ 616067 h 1219200"/>
              <a:gd name="connsiteX737" fmla="*/ 158115 w 1581150"/>
              <a:gd name="connsiteY737" fmla="*/ 618658 h 1219200"/>
              <a:gd name="connsiteX738" fmla="*/ 124416 w 1581150"/>
              <a:gd name="connsiteY738" fmla="*/ 618658 h 1219200"/>
              <a:gd name="connsiteX739" fmla="*/ 119234 w 1581150"/>
              <a:gd name="connsiteY739" fmla="*/ 616067 h 1219200"/>
              <a:gd name="connsiteX740" fmla="*/ 116643 w 1581150"/>
              <a:gd name="connsiteY740" fmla="*/ 610895 h 1219200"/>
              <a:gd name="connsiteX741" fmla="*/ 114052 w 1581150"/>
              <a:gd name="connsiteY741" fmla="*/ 608305 h 1219200"/>
              <a:gd name="connsiteX742" fmla="*/ 114052 w 1581150"/>
              <a:gd name="connsiteY742" fmla="*/ 605714 h 1219200"/>
              <a:gd name="connsiteX743" fmla="*/ 108871 w 1581150"/>
              <a:gd name="connsiteY743" fmla="*/ 608305 h 1219200"/>
              <a:gd name="connsiteX744" fmla="*/ 93316 w 1581150"/>
              <a:gd name="connsiteY744" fmla="*/ 603133 h 1219200"/>
              <a:gd name="connsiteX745" fmla="*/ 93316 w 1581150"/>
              <a:gd name="connsiteY745" fmla="*/ 592779 h 1219200"/>
              <a:gd name="connsiteX746" fmla="*/ 88135 w 1581150"/>
              <a:gd name="connsiteY746" fmla="*/ 582425 h 1219200"/>
              <a:gd name="connsiteX747" fmla="*/ 82944 w 1581150"/>
              <a:gd name="connsiteY747" fmla="*/ 577244 h 1219200"/>
              <a:gd name="connsiteX748" fmla="*/ 77762 w 1581150"/>
              <a:gd name="connsiteY748" fmla="*/ 574653 h 1219200"/>
              <a:gd name="connsiteX749" fmla="*/ 72580 w 1581150"/>
              <a:gd name="connsiteY749" fmla="*/ 574653 h 1219200"/>
              <a:gd name="connsiteX750" fmla="*/ 69990 w 1581150"/>
              <a:gd name="connsiteY750" fmla="*/ 569481 h 1219200"/>
              <a:gd name="connsiteX751" fmla="*/ 49254 w 1581150"/>
              <a:gd name="connsiteY751" fmla="*/ 569481 h 1219200"/>
              <a:gd name="connsiteX752" fmla="*/ 46654 w 1581150"/>
              <a:gd name="connsiteY752" fmla="*/ 566890 h 1219200"/>
              <a:gd name="connsiteX753" fmla="*/ 41472 w 1581150"/>
              <a:gd name="connsiteY753" fmla="*/ 564299 h 1219200"/>
              <a:gd name="connsiteX754" fmla="*/ 41472 w 1581150"/>
              <a:gd name="connsiteY754" fmla="*/ 559127 h 1219200"/>
              <a:gd name="connsiteX755" fmla="*/ 44062 w 1581150"/>
              <a:gd name="connsiteY755" fmla="*/ 556536 h 1219200"/>
              <a:gd name="connsiteX756" fmla="*/ 57026 w 1581150"/>
              <a:gd name="connsiteY756" fmla="*/ 556536 h 1219200"/>
              <a:gd name="connsiteX757" fmla="*/ 59617 w 1581150"/>
              <a:gd name="connsiteY757" fmla="*/ 553946 h 1219200"/>
              <a:gd name="connsiteX758" fmla="*/ 54436 w 1581150"/>
              <a:gd name="connsiteY758" fmla="*/ 548774 h 1219200"/>
              <a:gd name="connsiteX759" fmla="*/ 51845 w 1581150"/>
              <a:gd name="connsiteY759" fmla="*/ 548774 h 1219200"/>
              <a:gd name="connsiteX760" fmla="*/ 49254 w 1581150"/>
              <a:gd name="connsiteY760" fmla="*/ 546183 h 1219200"/>
              <a:gd name="connsiteX761" fmla="*/ 44062 w 1581150"/>
              <a:gd name="connsiteY761" fmla="*/ 535829 h 1219200"/>
              <a:gd name="connsiteX762" fmla="*/ 44062 w 1581150"/>
              <a:gd name="connsiteY762" fmla="*/ 517703 h 1219200"/>
              <a:gd name="connsiteX763" fmla="*/ 41472 w 1581150"/>
              <a:gd name="connsiteY763" fmla="*/ 515121 h 1219200"/>
              <a:gd name="connsiteX764" fmla="*/ 36290 w 1581150"/>
              <a:gd name="connsiteY764" fmla="*/ 512531 h 1219200"/>
              <a:gd name="connsiteX765" fmla="*/ 33700 w 1581150"/>
              <a:gd name="connsiteY765" fmla="*/ 512531 h 1219200"/>
              <a:gd name="connsiteX766" fmla="*/ 28518 w 1581150"/>
              <a:gd name="connsiteY766" fmla="*/ 509940 h 1219200"/>
              <a:gd name="connsiteX767" fmla="*/ 18145 w 1581150"/>
              <a:gd name="connsiteY767" fmla="*/ 509940 h 1219200"/>
              <a:gd name="connsiteX768" fmla="*/ 15554 w 1581150"/>
              <a:gd name="connsiteY768" fmla="*/ 512531 h 1219200"/>
              <a:gd name="connsiteX769" fmla="*/ 10373 w 1581150"/>
              <a:gd name="connsiteY769" fmla="*/ 512531 h 1219200"/>
              <a:gd name="connsiteX770" fmla="*/ 5182 w 1581150"/>
              <a:gd name="connsiteY770" fmla="*/ 507349 h 1219200"/>
              <a:gd name="connsiteX771" fmla="*/ 5182 w 1581150"/>
              <a:gd name="connsiteY771" fmla="*/ 502177 h 1219200"/>
              <a:gd name="connsiteX772" fmla="*/ 7772 w 1581150"/>
              <a:gd name="connsiteY772" fmla="*/ 496996 h 1219200"/>
              <a:gd name="connsiteX773" fmla="*/ 7772 w 1581150"/>
              <a:gd name="connsiteY773" fmla="*/ 491823 h 1219200"/>
              <a:gd name="connsiteX774" fmla="*/ 0 w 1581150"/>
              <a:gd name="connsiteY774" fmla="*/ 491823 h 1219200"/>
              <a:gd name="connsiteX775" fmla="*/ 0 w 1581150"/>
              <a:gd name="connsiteY775" fmla="*/ 481470 h 1219200"/>
              <a:gd name="connsiteX776" fmla="*/ 7772 w 1581150"/>
              <a:gd name="connsiteY776" fmla="*/ 481470 h 1219200"/>
              <a:gd name="connsiteX777" fmla="*/ 7772 w 1581150"/>
              <a:gd name="connsiteY777" fmla="*/ 476288 h 1219200"/>
              <a:gd name="connsiteX778" fmla="*/ 5182 w 1581150"/>
              <a:gd name="connsiteY778" fmla="*/ 471116 h 1219200"/>
              <a:gd name="connsiteX779" fmla="*/ 0 w 1581150"/>
              <a:gd name="connsiteY779" fmla="*/ 468525 h 1219200"/>
              <a:gd name="connsiteX780" fmla="*/ 0 w 1581150"/>
              <a:gd name="connsiteY780" fmla="*/ 465934 h 1219200"/>
              <a:gd name="connsiteX781" fmla="*/ 2591 w 1581150"/>
              <a:gd name="connsiteY781" fmla="*/ 463344 h 1219200"/>
              <a:gd name="connsiteX782" fmla="*/ 7772 w 1581150"/>
              <a:gd name="connsiteY782" fmla="*/ 460762 h 1219200"/>
              <a:gd name="connsiteX783" fmla="*/ 12964 w 1581150"/>
              <a:gd name="connsiteY783" fmla="*/ 460762 h 1219200"/>
              <a:gd name="connsiteX784" fmla="*/ 15554 w 1581150"/>
              <a:gd name="connsiteY784" fmla="*/ 458171 h 1219200"/>
              <a:gd name="connsiteX785" fmla="*/ 20736 w 1581150"/>
              <a:gd name="connsiteY785" fmla="*/ 455581 h 1219200"/>
              <a:gd name="connsiteX786" fmla="*/ 20736 w 1581150"/>
              <a:gd name="connsiteY786" fmla="*/ 447818 h 1219200"/>
              <a:gd name="connsiteX787" fmla="*/ 31109 w 1581150"/>
              <a:gd name="connsiteY787" fmla="*/ 447818 h 1219200"/>
              <a:gd name="connsiteX788" fmla="*/ 36290 w 1581150"/>
              <a:gd name="connsiteY788" fmla="*/ 442636 h 1219200"/>
              <a:gd name="connsiteX789" fmla="*/ 41472 w 1581150"/>
              <a:gd name="connsiteY789" fmla="*/ 442636 h 1219200"/>
              <a:gd name="connsiteX790" fmla="*/ 44062 w 1581150"/>
              <a:gd name="connsiteY790" fmla="*/ 445227 h 1219200"/>
              <a:gd name="connsiteX791" fmla="*/ 46654 w 1581150"/>
              <a:gd name="connsiteY791" fmla="*/ 450409 h 1219200"/>
              <a:gd name="connsiteX792" fmla="*/ 49254 w 1581150"/>
              <a:gd name="connsiteY792" fmla="*/ 452990 h 1219200"/>
              <a:gd name="connsiteX793" fmla="*/ 54436 w 1581150"/>
              <a:gd name="connsiteY793" fmla="*/ 450409 h 1219200"/>
              <a:gd name="connsiteX794" fmla="*/ 67399 w 1581150"/>
              <a:gd name="connsiteY794" fmla="*/ 452990 h 1219200"/>
              <a:gd name="connsiteX795" fmla="*/ 69990 w 1581150"/>
              <a:gd name="connsiteY795" fmla="*/ 450409 h 1219200"/>
              <a:gd name="connsiteX796" fmla="*/ 69990 w 1581150"/>
              <a:gd name="connsiteY796" fmla="*/ 440055 h 1219200"/>
              <a:gd name="connsiteX797" fmla="*/ 72580 w 1581150"/>
              <a:gd name="connsiteY797" fmla="*/ 434873 h 1219200"/>
              <a:gd name="connsiteX798" fmla="*/ 80353 w 1581150"/>
              <a:gd name="connsiteY798" fmla="*/ 427111 h 1219200"/>
              <a:gd name="connsiteX799" fmla="*/ 93316 w 1581150"/>
              <a:gd name="connsiteY799" fmla="*/ 427111 h 1219200"/>
              <a:gd name="connsiteX800" fmla="*/ 101089 w 1581150"/>
              <a:gd name="connsiteY800" fmla="*/ 429701 h 1219200"/>
              <a:gd name="connsiteX801" fmla="*/ 108871 w 1581150"/>
              <a:gd name="connsiteY801" fmla="*/ 429701 h 1219200"/>
              <a:gd name="connsiteX802" fmla="*/ 111462 w 1581150"/>
              <a:gd name="connsiteY802" fmla="*/ 427111 h 1219200"/>
              <a:gd name="connsiteX803" fmla="*/ 114052 w 1581150"/>
              <a:gd name="connsiteY803" fmla="*/ 421929 h 1219200"/>
              <a:gd name="connsiteX804" fmla="*/ 114052 w 1581150"/>
              <a:gd name="connsiteY804" fmla="*/ 414166 h 1219200"/>
              <a:gd name="connsiteX805" fmla="*/ 116643 w 1581150"/>
              <a:gd name="connsiteY805" fmla="*/ 411575 h 1219200"/>
              <a:gd name="connsiteX806" fmla="*/ 121825 w 1581150"/>
              <a:gd name="connsiteY806" fmla="*/ 408984 h 1219200"/>
              <a:gd name="connsiteX807" fmla="*/ 127006 w 1581150"/>
              <a:gd name="connsiteY807" fmla="*/ 403812 h 1219200"/>
              <a:gd name="connsiteX808" fmla="*/ 147752 w 1581150"/>
              <a:gd name="connsiteY808" fmla="*/ 396049 h 1219200"/>
              <a:gd name="connsiteX809" fmla="*/ 158115 w 1581150"/>
              <a:gd name="connsiteY809" fmla="*/ 396049 h 1219200"/>
              <a:gd name="connsiteX810" fmla="*/ 160706 w 1581150"/>
              <a:gd name="connsiteY810" fmla="*/ 393459 h 1219200"/>
              <a:gd name="connsiteX811" fmla="*/ 160706 w 1581150"/>
              <a:gd name="connsiteY811" fmla="*/ 388277 h 1219200"/>
              <a:gd name="connsiteX812" fmla="*/ 152934 w 1581150"/>
              <a:gd name="connsiteY812" fmla="*/ 380514 h 1219200"/>
              <a:gd name="connsiteX813" fmla="*/ 152934 w 1581150"/>
              <a:gd name="connsiteY813" fmla="*/ 375342 h 1219200"/>
              <a:gd name="connsiteX814" fmla="*/ 150343 w 1581150"/>
              <a:gd name="connsiteY814" fmla="*/ 372751 h 1219200"/>
              <a:gd name="connsiteX815" fmla="*/ 150343 w 1581150"/>
              <a:gd name="connsiteY815" fmla="*/ 367570 h 1219200"/>
              <a:gd name="connsiteX816" fmla="*/ 160706 w 1581150"/>
              <a:gd name="connsiteY816" fmla="*/ 367570 h 1219200"/>
              <a:gd name="connsiteX817" fmla="*/ 152934 w 1581150"/>
              <a:gd name="connsiteY817" fmla="*/ 359807 h 1219200"/>
              <a:gd name="connsiteX818" fmla="*/ 152934 w 1581150"/>
              <a:gd name="connsiteY818" fmla="*/ 357216 h 1219200"/>
              <a:gd name="connsiteX819" fmla="*/ 155524 w 1581150"/>
              <a:gd name="connsiteY819" fmla="*/ 354625 h 1219200"/>
              <a:gd name="connsiteX820" fmla="*/ 163296 w 1581150"/>
              <a:gd name="connsiteY820" fmla="*/ 354625 h 1219200"/>
              <a:gd name="connsiteX821" fmla="*/ 163296 w 1581150"/>
              <a:gd name="connsiteY821" fmla="*/ 349453 h 1219200"/>
              <a:gd name="connsiteX822" fmla="*/ 158115 w 1581150"/>
              <a:gd name="connsiteY822" fmla="*/ 346862 h 1219200"/>
              <a:gd name="connsiteX823" fmla="*/ 155524 w 1581150"/>
              <a:gd name="connsiteY823" fmla="*/ 341690 h 1219200"/>
              <a:gd name="connsiteX824" fmla="*/ 137379 w 1581150"/>
              <a:gd name="connsiteY824" fmla="*/ 323564 h 1219200"/>
              <a:gd name="connsiteX825" fmla="*/ 132198 w 1581150"/>
              <a:gd name="connsiteY825" fmla="*/ 313211 h 1219200"/>
              <a:gd name="connsiteX826" fmla="*/ 132198 w 1581150"/>
              <a:gd name="connsiteY826" fmla="*/ 300266 h 1219200"/>
              <a:gd name="connsiteX827" fmla="*/ 124416 w 1581150"/>
              <a:gd name="connsiteY827" fmla="*/ 300266 h 1219200"/>
              <a:gd name="connsiteX828" fmla="*/ 119234 w 1581150"/>
              <a:gd name="connsiteY828" fmla="*/ 297685 h 1219200"/>
              <a:gd name="connsiteX829" fmla="*/ 116643 w 1581150"/>
              <a:gd name="connsiteY829" fmla="*/ 295094 h 1219200"/>
              <a:gd name="connsiteX830" fmla="*/ 116643 w 1581150"/>
              <a:gd name="connsiteY830" fmla="*/ 292503 h 1219200"/>
              <a:gd name="connsiteX831" fmla="*/ 119234 w 1581150"/>
              <a:gd name="connsiteY831" fmla="*/ 289913 h 1219200"/>
              <a:gd name="connsiteX832" fmla="*/ 124416 w 1581150"/>
              <a:gd name="connsiteY832" fmla="*/ 287331 h 1219200"/>
              <a:gd name="connsiteX833" fmla="*/ 129607 w 1581150"/>
              <a:gd name="connsiteY833" fmla="*/ 287331 h 1219200"/>
              <a:gd name="connsiteX834" fmla="*/ 134788 w 1581150"/>
              <a:gd name="connsiteY834" fmla="*/ 284740 h 1219200"/>
              <a:gd name="connsiteX835" fmla="*/ 139970 w 1581150"/>
              <a:gd name="connsiteY835" fmla="*/ 284740 h 1219200"/>
              <a:gd name="connsiteX836" fmla="*/ 155524 w 1581150"/>
              <a:gd name="connsiteY836" fmla="*/ 276978 h 1219200"/>
              <a:gd name="connsiteX837" fmla="*/ 160706 w 1581150"/>
              <a:gd name="connsiteY837" fmla="*/ 276978 h 1219200"/>
              <a:gd name="connsiteX838" fmla="*/ 163296 w 1581150"/>
              <a:gd name="connsiteY838" fmla="*/ 279559 h 1219200"/>
              <a:gd name="connsiteX839" fmla="*/ 165888 w 1581150"/>
              <a:gd name="connsiteY839" fmla="*/ 284740 h 1219200"/>
              <a:gd name="connsiteX840" fmla="*/ 168488 w 1581150"/>
              <a:gd name="connsiteY840" fmla="*/ 287331 h 1219200"/>
              <a:gd name="connsiteX841" fmla="*/ 176260 w 1581150"/>
              <a:gd name="connsiteY841" fmla="*/ 282150 h 1219200"/>
              <a:gd name="connsiteX842" fmla="*/ 181442 w 1581150"/>
              <a:gd name="connsiteY842" fmla="*/ 287331 h 1219200"/>
              <a:gd name="connsiteX843" fmla="*/ 184032 w 1581150"/>
              <a:gd name="connsiteY843" fmla="*/ 287331 h 1219200"/>
              <a:gd name="connsiteX844" fmla="*/ 186633 w 1581150"/>
              <a:gd name="connsiteY844" fmla="*/ 284740 h 1219200"/>
              <a:gd name="connsiteX845" fmla="*/ 186633 w 1581150"/>
              <a:gd name="connsiteY845" fmla="*/ 279559 h 1219200"/>
              <a:gd name="connsiteX846" fmla="*/ 184032 w 1581150"/>
              <a:gd name="connsiteY846" fmla="*/ 276978 h 1219200"/>
              <a:gd name="connsiteX847" fmla="*/ 181442 w 1581150"/>
              <a:gd name="connsiteY847" fmla="*/ 276978 h 1219200"/>
              <a:gd name="connsiteX848" fmla="*/ 178851 w 1581150"/>
              <a:gd name="connsiteY848" fmla="*/ 274387 h 1219200"/>
              <a:gd name="connsiteX849" fmla="*/ 176260 w 1581150"/>
              <a:gd name="connsiteY849" fmla="*/ 274387 h 1219200"/>
              <a:gd name="connsiteX850" fmla="*/ 176260 w 1581150"/>
              <a:gd name="connsiteY850" fmla="*/ 214846 h 1219200"/>
              <a:gd name="connsiteX851" fmla="*/ 181442 w 1581150"/>
              <a:gd name="connsiteY851" fmla="*/ 214846 h 1219200"/>
              <a:gd name="connsiteX852" fmla="*/ 186633 w 1581150"/>
              <a:gd name="connsiteY852" fmla="*/ 217437 h 1219200"/>
              <a:gd name="connsiteX853" fmla="*/ 191814 w 1581150"/>
              <a:gd name="connsiteY853" fmla="*/ 217437 h 1219200"/>
              <a:gd name="connsiteX854" fmla="*/ 202178 w 1581150"/>
              <a:gd name="connsiteY854" fmla="*/ 222618 h 1219200"/>
              <a:gd name="connsiteX855" fmla="*/ 222914 w 1581150"/>
              <a:gd name="connsiteY855" fmla="*/ 222618 h 1219200"/>
              <a:gd name="connsiteX856" fmla="*/ 228105 w 1581150"/>
              <a:gd name="connsiteY856" fmla="*/ 227790 h 1219200"/>
              <a:gd name="connsiteX857" fmla="*/ 235877 w 1581150"/>
              <a:gd name="connsiteY857" fmla="*/ 220028 h 1219200"/>
              <a:gd name="connsiteX858" fmla="*/ 243650 w 1581150"/>
              <a:gd name="connsiteY858" fmla="*/ 220028 h 1219200"/>
              <a:gd name="connsiteX859" fmla="*/ 246250 w 1581150"/>
              <a:gd name="connsiteY859" fmla="*/ 217437 h 1219200"/>
              <a:gd name="connsiteX860" fmla="*/ 246250 w 1581150"/>
              <a:gd name="connsiteY860" fmla="*/ 209674 h 1219200"/>
              <a:gd name="connsiteX861" fmla="*/ 241059 w 1581150"/>
              <a:gd name="connsiteY861" fmla="*/ 199320 h 1219200"/>
              <a:gd name="connsiteX862" fmla="*/ 235877 w 1581150"/>
              <a:gd name="connsiteY862" fmla="*/ 194138 h 1219200"/>
              <a:gd name="connsiteX863" fmla="*/ 230695 w 1581150"/>
              <a:gd name="connsiteY863" fmla="*/ 183785 h 1219200"/>
              <a:gd name="connsiteX864" fmla="*/ 230695 w 1581150"/>
              <a:gd name="connsiteY864" fmla="*/ 176022 h 1219200"/>
              <a:gd name="connsiteX865" fmla="*/ 235877 w 1581150"/>
              <a:gd name="connsiteY865" fmla="*/ 170840 h 1219200"/>
              <a:gd name="connsiteX866" fmla="*/ 254022 w 1581150"/>
              <a:gd name="connsiteY866" fmla="*/ 170840 h 1219200"/>
              <a:gd name="connsiteX867" fmla="*/ 256613 w 1581150"/>
              <a:gd name="connsiteY867" fmla="*/ 168259 h 1219200"/>
              <a:gd name="connsiteX868" fmla="*/ 256613 w 1581150"/>
              <a:gd name="connsiteY868" fmla="*/ 163078 h 1219200"/>
              <a:gd name="connsiteX869" fmla="*/ 248841 w 1581150"/>
              <a:gd name="connsiteY869" fmla="*/ 155315 h 1219200"/>
              <a:gd name="connsiteX870" fmla="*/ 248841 w 1581150"/>
              <a:gd name="connsiteY870" fmla="*/ 152724 h 1219200"/>
              <a:gd name="connsiteX871" fmla="*/ 251431 w 1581150"/>
              <a:gd name="connsiteY871" fmla="*/ 150133 h 1219200"/>
              <a:gd name="connsiteX872" fmla="*/ 259204 w 1581150"/>
              <a:gd name="connsiteY872" fmla="*/ 150133 h 1219200"/>
              <a:gd name="connsiteX873" fmla="*/ 264386 w 1581150"/>
              <a:gd name="connsiteY873" fmla="*/ 152724 h 1219200"/>
              <a:gd name="connsiteX874" fmla="*/ 279940 w 1581150"/>
              <a:gd name="connsiteY874" fmla="*/ 152724 h 1219200"/>
              <a:gd name="connsiteX875" fmla="*/ 282530 w 1581150"/>
              <a:gd name="connsiteY875" fmla="*/ 155315 h 1219200"/>
              <a:gd name="connsiteX876" fmla="*/ 282530 w 1581150"/>
              <a:gd name="connsiteY876" fmla="*/ 160487 h 1219200"/>
              <a:gd name="connsiteX877" fmla="*/ 279940 w 1581150"/>
              <a:gd name="connsiteY877" fmla="*/ 163078 h 1219200"/>
              <a:gd name="connsiteX878" fmla="*/ 290313 w 1581150"/>
              <a:gd name="connsiteY878" fmla="*/ 163078 h 1219200"/>
              <a:gd name="connsiteX879" fmla="*/ 290313 w 1581150"/>
              <a:gd name="connsiteY879" fmla="*/ 170840 h 1219200"/>
              <a:gd name="connsiteX880" fmla="*/ 295494 w 1581150"/>
              <a:gd name="connsiteY880" fmla="*/ 173431 h 1219200"/>
              <a:gd name="connsiteX881" fmla="*/ 300676 w 1581150"/>
              <a:gd name="connsiteY881" fmla="*/ 173431 h 1219200"/>
              <a:gd name="connsiteX882" fmla="*/ 305867 w 1581150"/>
              <a:gd name="connsiteY882" fmla="*/ 176022 h 1219200"/>
              <a:gd name="connsiteX883" fmla="*/ 311048 w 1581150"/>
              <a:gd name="connsiteY883" fmla="*/ 176022 h 1219200"/>
              <a:gd name="connsiteX884" fmla="*/ 313639 w 1581150"/>
              <a:gd name="connsiteY884" fmla="*/ 181194 h 1219200"/>
              <a:gd name="connsiteX885" fmla="*/ 324002 w 1581150"/>
              <a:gd name="connsiteY885" fmla="*/ 191548 h 1219200"/>
              <a:gd name="connsiteX886" fmla="*/ 339557 w 1581150"/>
              <a:gd name="connsiteY886" fmla="*/ 186376 h 1219200"/>
              <a:gd name="connsiteX887" fmla="*/ 347339 w 1581150"/>
              <a:gd name="connsiteY887" fmla="*/ 191548 h 1219200"/>
              <a:gd name="connsiteX888" fmla="*/ 349929 w 1581150"/>
              <a:gd name="connsiteY888" fmla="*/ 194138 h 1219200"/>
              <a:gd name="connsiteX889" fmla="*/ 355111 w 1581150"/>
              <a:gd name="connsiteY889" fmla="*/ 194138 h 1219200"/>
              <a:gd name="connsiteX890" fmla="*/ 360293 w 1581150"/>
              <a:gd name="connsiteY890" fmla="*/ 196729 h 1219200"/>
              <a:gd name="connsiteX891" fmla="*/ 368075 w 1581150"/>
              <a:gd name="connsiteY891" fmla="*/ 199320 h 1219200"/>
              <a:gd name="connsiteX892" fmla="*/ 375847 w 1581150"/>
              <a:gd name="connsiteY892" fmla="*/ 207083 h 1219200"/>
              <a:gd name="connsiteX893" fmla="*/ 378438 w 1581150"/>
              <a:gd name="connsiteY893" fmla="*/ 212265 h 1219200"/>
              <a:gd name="connsiteX894" fmla="*/ 383620 w 1581150"/>
              <a:gd name="connsiteY894" fmla="*/ 220028 h 1219200"/>
              <a:gd name="connsiteX895" fmla="*/ 393992 w 1581150"/>
              <a:gd name="connsiteY895" fmla="*/ 227790 h 1219200"/>
              <a:gd name="connsiteX896" fmla="*/ 399174 w 1581150"/>
              <a:gd name="connsiteY896" fmla="*/ 232972 h 1219200"/>
              <a:gd name="connsiteX897" fmla="*/ 401764 w 1581150"/>
              <a:gd name="connsiteY897" fmla="*/ 238144 h 1219200"/>
              <a:gd name="connsiteX898" fmla="*/ 401764 w 1581150"/>
              <a:gd name="connsiteY898" fmla="*/ 243326 h 1219200"/>
              <a:gd name="connsiteX899" fmla="*/ 404365 w 1581150"/>
              <a:gd name="connsiteY899" fmla="*/ 245907 h 1219200"/>
              <a:gd name="connsiteX900" fmla="*/ 406955 w 1581150"/>
              <a:gd name="connsiteY900" fmla="*/ 251088 h 1219200"/>
              <a:gd name="connsiteX901" fmla="*/ 409547 w 1581150"/>
              <a:gd name="connsiteY901" fmla="*/ 253679 h 1219200"/>
              <a:gd name="connsiteX902" fmla="*/ 409547 w 1581150"/>
              <a:gd name="connsiteY902" fmla="*/ 256270 h 1219200"/>
              <a:gd name="connsiteX903" fmla="*/ 404365 w 1581150"/>
              <a:gd name="connsiteY903" fmla="*/ 261442 h 1219200"/>
              <a:gd name="connsiteX904" fmla="*/ 404365 w 1581150"/>
              <a:gd name="connsiteY904" fmla="*/ 266624 h 1219200"/>
              <a:gd name="connsiteX905" fmla="*/ 406955 w 1581150"/>
              <a:gd name="connsiteY905" fmla="*/ 274387 h 1219200"/>
              <a:gd name="connsiteX906" fmla="*/ 409547 w 1581150"/>
              <a:gd name="connsiteY906" fmla="*/ 279559 h 1219200"/>
              <a:gd name="connsiteX907" fmla="*/ 412137 w 1581150"/>
              <a:gd name="connsiteY907" fmla="*/ 282150 h 1219200"/>
              <a:gd name="connsiteX908" fmla="*/ 417319 w 1581150"/>
              <a:gd name="connsiteY908" fmla="*/ 284740 h 1219200"/>
              <a:gd name="connsiteX909" fmla="*/ 422500 w 1581150"/>
              <a:gd name="connsiteY909" fmla="*/ 284740 h 1219200"/>
              <a:gd name="connsiteX910" fmla="*/ 427691 w 1581150"/>
              <a:gd name="connsiteY910" fmla="*/ 287331 h 1219200"/>
              <a:gd name="connsiteX911" fmla="*/ 430282 w 1581150"/>
              <a:gd name="connsiteY911" fmla="*/ 287331 h 1219200"/>
              <a:gd name="connsiteX912" fmla="*/ 438055 w 1581150"/>
              <a:gd name="connsiteY912" fmla="*/ 289913 h 1219200"/>
              <a:gd name="connsiteX913" fmla="*/ 448427 w 1581150"/>
              <a:gd name="connsiteY913" fmla="*/ 292503 h 1219200"/>
              <a:gd name="connsiteX914" fmla="*/ 489899 w 1581150"/>
              <a:gd name="connsiteY914" fmla="*/ 292503 h 1219200"/>
              <a:gd name="connsiteX915" fmla="*/ 492490 w 1581150"/>
              <a:gd name="connsiteY915" fmla="*/ 295094 h 1219200"/>
              <a:gd name="connsiteX916" fmla="*/ 495081 w 1581150"/>
              <a:gd name="connsiteY916" fmla="*/ 295094 h 1219200"/>
              <a:gd name="connsiteX917" fmla="*/ 500263 w 1581150"/>
              <a:gd name="connsiteY917" fmla="*/ 297685 h 1219200"/>
              <a:gd name="connsiteX918" fmla="*/ 502863 w 1581150"/>
              <a:gd name="connsiteY918" fmla="*/ 297685 h 1219200"/>
              <a:gd name="connsiteX919" fmla="*/ 508045 w 1581150"/>
              <a:gd name="connsiteY919" fmla="*/ 300266 h 1219200"/>
              <a:gd name="connsiteX920" fmla="*/ 510635 w 1581150"/>
              <a:gd name="connsiteY920" fmla="*/ 305448 h 1219200"/>
              <a:gd name="connsiteX921" fmla="*/ 513226 w 1581150"/>
              <a:gd name="connsiteY921" fmla="*/ 305448 h 1219200"/>
              <a:gd name="connsiteX922" fmla="*/ 515817 w 1581150"/>
              <a:gd name="connsiteY922" fmla="*/ 308038 h 1219200"/>
              <a:gd name="connsiteX923" fmla="*/ 518408 w 1581150"/>
              <a:gd name="connsiteY923" fmla="*/ 308038 h 1219200"/>
              <a:gd name="connsiteX924" fmla="*/ 528781 w 1581150"/>
              <a:gd name="connsiteY924" fmla="*/ 313211 h 1219200"/>
              <a:gd name="connsiteX925" fmla="*/ 533962 w 1581150"/>
              <a:gd name="connsiteY925" fmla="*/ 313211 h 1219200"/>
              <a:gd name="connsiteX926" fmla="*/ 536553 w 1581150"/>
              <a:gd name="connsiteY926" fmla="*/ 315801 h 1219200"/>
              <a:gd name="connsiteX927" fmla="*/ 552107 w 1581150"/>
              <a:gd name="connsiteY927" fmla="*/ 315801 h 1219200"/>
              <a:gd name="connsiteX928" fmla="*/ 557289 w 1581150"/>
              <a:gd name="connsiteY928" fmla="*/ 326155 h 1219200"/>
              <a:gd name="connsiteX929" fmla="*/ 575434 w 1581150"/>
              <a:gd name="connsiteY929" fmla="*/ 344272 h 1219200"/>
              <a:gd name="connsiteX930" fmla="*/ 578025 w 1581150"/>
              <a:gd name="connsiteY930" fmla="*/ 349453 h 1219200"/>
              <a:gd name="connsiteX931" fmla="*/ 590988 w 1581150"/>
              <a:gd name="connsiteY931" fmla="*/ 362398 h 1219200"/>
              <a:gd name="connsiteX932" fmla="*/ 596170 w 1581150"/>
              <a:gd name="connsiteY932" fmla="*/ 364988 h 1219200"/>
              <a:gd name="connsiteX933" fmla="*/ 598761 w 1581150"/>
              <a:gd name="connsiteY933" fmla="*/ 370161 h 1219200"/>
              <a:gd name="connsiteX934" fmla="*/ 603952 w 1581150"/>
              <a:gd name="connsiteY934" fmla="*/ 372751 h 1219200"/>
              <a:gd name="connsiteX935" fmla="*/ 629869 w 1581150"/>
              <a:gd name="connsiteY935" fmla="*/ 370161 h 1219200"/>
              <a:gd name="connsiteX936" fmla="*/ 653196 w 1581150"/>
              <a:gd name="connsiteY936" fmla="*/ 372751 h 1219200"/>
              <a:gd name="connsiteX937" fmla="*/ 673932 w 1581150"/>
              <a:gd name="connsiteY937" fmla="*/ 372751 h 1219200"/>
              <a:gd name="connsiteX938" fmla="*/ 689486 w 1581150"/>
              <a:gd name="connsiteY938" fmla="*/ 375342 h 1219200"/>
              <a:gd name="connsiteX939" fmla="*/ 692077 w 1581150"/>
              <a:gd name="connsiteY939" fmla="*/ 372751 h 1219200"/>
              <a:gd name="connsiteX940" fmla="*/ 697259 w 1581150"/>
              <a:gd name="connsiteY940" fmla="*/ 370161 h 1219200"/>
              <a:gd name="connsiteX941" fmla="*/ 699849 w 1581150"/>
              <a:gd name="connsiteY941" fmla="*/ 367570 h 1219200"/>
              <a:gd name="connsiteX942" fmla="*/ 705041 w 1581150"/>
              <a:gd name="connsiteY942" fmla="*/ 367570 h 1219200"/>
              <a:gd name="connsiteX943" fmla="*/ 710222 w 1581150"/>
              <a:gd name="connsiteY943" fmla="*/ 370161 h 1219200"/>
              <a:gd name="connsiteX944" fmla="*/ 712813 w 1581150"/>
              <a:gd name="connsiteY944" fmla="*/ 370161 h 1219200"/>
              <a:gd name="connsiteX945" fmla="*/ 715403 w 1581150"/>
              <a:gd name="connsiteY945" fmla="*/ 372751 h 1219200"/>
              <a:gd name="connsiteX946" fmla="*/ 738731 w 1581150"/>
              <a:gd name="connsiteY946" fmla="*/ 372751 h 1219200"/>
              <a:gd name="connsiteX947" fmla="*/ 746513 w 1581150"/>
              <a:gd name="connsiteY947" fmla="*/ 375342 h 1219200"/>
              <a:gd name="connsiteX948" fmla="*/ 751694 w 1581150"/>
              <a:gd name="connsiteY948" fmla="*/ 375342 h 1219200"/>
              <a:gd name="connsiteX949" fmla="*/ 759466 w 1581150"/>
              <a:gd name="connsiteY949" fmla="*/ 383105 h 1219200"/>
              <a:gd name="connsiteX950" fmla="*/ 762067 w 1581150"/>
              <a:gd name="connsiteY950" fmla="*/ 388277 h 1219200"/>
              <a:gd name="connsiteX951" fmla="*/ 767249 w 1581150"/>
              <a:gd name="connsiteY951" fmla="*/ 390868 h 1219200"/>
              <a:gd name="connsiteX952" fmla="*/ 777611 w 1581150"/>
              <a:gd name="connsiteY952" fmla="*/ 393459 h 1219200"/>
              <a:gd name="connsiteX953" fmla="*/ 798347 w 1581150"/>
              <a:gd name="connsiteY953" fmla="*/ 393459 h 1219200"/>
              <a:gd name="connsiteX954" fmla="*/ 806129 w 1581150"/>
              <a:gd name="connsiteY954" fmla="*/ 396049 h 1219200"/>
              <a:gd name="connsiteX955" fmla="*/ 816493 w 1581150"/>
              <a:gd name="connsiteY955" fmla="*/ 401221 h 1219200"/>
              <a:gd name="connsiteX956" fmla="*/ 819093 w 1581150"/>
              <a:gd name="connsiteY956" fmla="*/ 403812 h 1219200"/>
              <a:gd name="connsiteX957" fmla="*/ 824275 w 1581150"/>
              <a:gd name="connsiteY957" fmla="*/ 403812 h 1219200"/>
              <a:gd name="connsiteX958" fmla="*/ 826865 w 1581150"/>
              <a:gd name="connsiteY958" fmla="*/ 401221 h 1219200"/>
              <a:gd name="connsiteX959" fmla="*/ 832047 w 1581150"/>
              <a:gd name="connsiteY959" fmla="*/ 401221 h 1219200"/>
              <a:gd name="connsiteX960" fmla="*/ 837229 w 1581150"/>
              <a:gd name="connsiteY960" fmla="*/ 398631 h 1219200"/>
              <a:gd name="connsiteX961" fmla="*/ 842420 w 1581150"/>
              <a:gd name="connsiteY961" fmla="*/ 398631 h 1219200"/>
              <a:gd name="connsiteX962" fmla="*/ 842420 w 1581150"/>
              <a:gd name="connsiteY962" fmla="*/ 401221 h 1219200"/>
              <a:gd name="connsiteX963" fmla="*/ 845011 w 1581150"/>
              <a:gd name="connsiteY963" fmla="*/ 406403 h 1219200"/>
              <a:gd name="connsiteX964" fmla="*/ 847601 w 1581150"/>
              <a:gd name="connsiteY964" fmla="*/ 406403 h 1219200"/>
              <a:gd name="connsiteX965" fmla="*/ 850192 w 1581150"/>
              <a:gd name="connsiteY965" fmla="*/ 408984 h 1219200"/>
              <a:gd name="connsiteX966" fmla="*/ 857965 w 1581150"/>
              <a:gd name="connsiteY966" fmla="*/ 408984 h 1219200"/>
              <a:gd name="connsiteX967" fmla="*/ 860565 w 1581150"/>
              <a:gd name="connsiteY967" fmla="*/ 406403 h 1219200"/>
              <a:gd name="connsiteX968" fmla="*/ 868337 w 1581150"/>
              <a:gd name="connsiteY968" fmla="*/ 401221 h 1219200"/>
              <a:gd name="connsiteX969" fmla="*/ 894255 w 1581150"/>
              <a:gd name="connsiteY969" fmla="*/ 385696 h 1219200"/>
              <a:gd name="connsiteX970" fmla="*/ 902037 w 1581150"/>
              <a:gd name="connsiteY970" fmla="*/ 380514 h 1219200"/>
              <a:gd name="connsiteX971" fmla="*/ 969426 w 1581150"/>
              <a:gd name="connsiteY971" fmla="*/ 380514 h 1219200"/>
              <a:gd name="connsiteX972" fmla="*/ 977208 w 1581150"/>
              <a:gd name="connsiteY972" fmla="*/ 370161 h 1219200"/>
              <a:gd name="connsiteX973" fmla="*/ 987571 w 1581150"/>
              <a:gd name="connsiteY973" fmla="*/ 370161 h 1219200"/>
              <a:gd name="connsiteX974" fmla="*/ 992753 w 1581150"/>
              <a:gd name="connsiteY974" fmla="*/ 367570 h 1219200"/>
              <a:gd name="connsiteX975" fmla="*/ 997944 w 1581150"/>
              <a:gd name="connsiteY975" fmla="*/ 357216 h 1219200"/>
              <a:gd name="connsiteX976" fmla="*/ 997944 w 1581150"/>
              <a:gd name="connsiteY976" fmla="*/ 354625 h 1219200"/>
              <a:gd name="connsiteX977" fmla="*/ 1000535 w 1581150"/>
              <a:gd name="connsiteY977" fmla="*/ 349453 h 1219200"/>
              <a:gd name="connsiteX978" fmla="*/ 1000535 w 1581150"/>
              <a:gd name="connsiteY978" fmla="*/ 346862 h 1219200"/>
              <a:gd name="connsiteX979" fmla="*/ 1010898 w 1581150"/>
              <a:gd name="connsiteY979" fmla="*/ 346862 h 1219200"/>
              <a:gd name="connsiteX980" fmla="*/ 1016079 w 1581150"/>
              <a:gd name="connsiteY980" fmla="*/ 341690 h 1219200"/>
              <a:gd name="connsiteX981" fmla="*/ 1018680 w 1581150"/>
              <a:gd name="connsiteY981" fmla="*/ 336509 h 1219200"/>
              <a:gd name="connsiteX982" fmla="*/ 1021270 w 1581150"/>
              <a:gd name="connsiteY982" fmla="*/ 333918 h 1219200"/>
              <a:gd name="connsiteX983" fmla="*/ 1021270 w 1581150"/>
              <a:gd name="connsiteY983" fmla="*/ 331337 h 1219200"/>
              <a:gd name="connsiteX984" fmla="*/ 1016079 w 1581150"/>
              <a:gd name="connsiteY984" fmla="*/ 328746 h 1219200"/>
              <a:gd name="connsiteX985" fmla="*/ 1008307 w 1581150"/>
              <a:gd name="connsiteY985" fmla="*/ 320983 h 1219200"/>
              <a:gd name="connsiteX986" fmla="*/ 1003125 w 1581150"/>
              <a:gd name="connsiteY986" fmla="*/ 318392 h 1219200"/>
              <a:gd name="connsiteX987" fmla="*/ 995343 w 1581150"/>
              <a:gd name="connsiteY987" fmla="*/ 310629 h 1219200"/>
              <a:gd name="connsiteX988" fmla="*/ 992753 w 1581150"/>
              <a:gd name="connsiteY988" fmla="*/ 305448 h 1219200"/>
              <a:gd name="connsiteX989" fmla="*/ 992753 w 1581150"/>
              <a:gd name="connsiteY989" fmla="*/ 300266 h 1219200"/>
              <a:gd name="connsiteX990" fmla="*/ 995343 w 1581150"/>
              <a:gd name="connsiteY990" fmla="*/ 295094 h 1219200"/>
              <a:gd name="connsiteX991" fmla="*/ 995343 w 1581150"/>
              <a:gd name="connsiteY991" fmla="*/ 289913 h 1219200"/>
              <a:gd name="connsiteX992" fmla="*/ 1000535 w 1581150"/>
              <a:gd name="connsiteY992" fmla="*/ 287331 h 1219200"/>
              <a:gd name="connsiteX993" fmla="*/ 1010898 w 1581150"/>
              <a:gd name="connsiteY993" fmla="*/ 287331 h 1219200"/>
              <a:gd name="connsiteX994" fmla="*/ 1013489 w 1581150"/>
              <a:gd name="connsiteY994" fmla="*/ 289913 h 1219200"/>
              <a:gd name="connsiteX995" fmla="*/ 1016079 w 1581150"/>
              <a:gd name="connsiteY995" fmla="*/ 289913 h 1219200"/>
              <a:gd name="connsiteX996" fmla="*/ 1018680 w 1581150"/>
              <a:gd name="connsiteY996" fmla="*/ 292503 h 1219200"/>
              <a:gd name="connsiteX997" fmla="*/ 1023861 w 1581150"/>
              <a:gd name="connsiteY997" fmla="*/ 295094 h 1219200"/>
              <a:gd name="connsiteX998" fmla="*/ 1026452 w 1581150"/>
              <a:gd name="connsiteY998" fmla="*/ 297685 h 1219200"/>
              <a:gd name="connsiteX999" fmla="*/ 1031634 w 1581150"/>
              <a:gd name="connsiteY999" fmla="*/ 300266 h 1219200"/>
              <a:gd name="connsiteX1000" fmla="*/ 1042006 w 1581150"/>
              <a:gd name="connsiteY1000" fmla="*/ 300266 h 1219200"/>
              <a:gd name="connsiteX1001" fmla="*/ 1047188 w 1581150"/>
              <a:gd name="connsiteY1001" fmla="*/ 297685 h 1219200"/>
              <a:gd name="connsiteX1002" fmla="*/ 1054961 w 1581150"/>
              <a:gd name="connsiteY1002" fmla="*/ 297685 h 1219200"/>
              <a:gd name="connsiteX1003" fmla="*/ 1060152 w 1581150"/>
              <a:gd name="connsiteY1003" fmla="*/ 295094 h 1219200"/>
              <a:gd name="connsiteX1004" fmla="*/ 1062742 w 1581150"/>
              <a:gd name="connsiteY1004" fmla="*/ 289913 h 1219200"/>
              <a:gd name="connsiteX1005" fmla="*/ 1065333 w 1581150"/>
              <a:gd name="connsiteY1005" fmla="*/ 287331 h 1219200"/>
              <a:gd name="connsiteX1006" fmla="*/ 1065333 w 1581150"/>
              <a:gd name="connsiteY1006" fmla="*/ 276978 h 1219200"/>
              <a:gd name="connsiteX1007" fmla="*/ 1096442 w 1581150"/>
              <a:gd name="connsiteY1007" fmla="*/ 276978 h 1219200"/>
              <a:gd name="connsiteX1008" fmla="*/ 1106805 w 1581150"/>
              <a:gd name="connsiteY1008" fmla="*/ 266624 h 1219200"/>
              <a:gd name="connsiteX1009" fmla="*/ 1101624 w 1581150"/>
              <a:gd name="connsiteY1009" fmla="*/ 261442 h 1219200"/>
              <a:gd name="connsiteX1010" fmla="*/ 1099032 w 1581150"/>
              <a:gd name="connsiteY1010" fmla="*/ 256270 h 1219200"/>
              <a:gd name="connsiteX1011" fmla="*/ 1101624 w 1581150"/>
              <a:gd name="connsiteY1011" fmla="*/ 253679 h 1219200"/>
              <a:gd name="connsiteX1012" fmla="*/ 1117178 w 1581150"/>
              <a:gd name="connsiteY1012" fmla="*/ 245907 h 1219200"/>
              <a:gd name="connsiteX1013" fmla="*/ 1122359 w 1581150"/>
              <a:gd name="connsiteY1013" fmla="*/ 245907 h 1219200"/>
              <a:gd name="connsiteX1014" fmla="*/ 1122359 w 1581150"/>
              <a:gd name="connsiteY1014" fmla="*/ 238144 h 1219200"/>
              <a:gd name="connsiteX1015" fmla="*/ 1135313 w 1581150"/>
              <a:gd name="connsiteY1015" fmla="*/ 240735 h 1219200"/>
              <a:gd name="connsiteX1016" fmla="*/ 1143095 w 1581150"/>
              <a:gd name="connsiteY1016" fmla="*/ 232972 h 1219200"/>
              <a:gd name="connsiteX1017" fmla="*/ 1145686 w 1581150"/>
              <a:gd name="connsiteY1017" fmla="*/ 232972 h 1219200"/>
              <a:gd name="connsiteX1018" fmla="*/ 1148277 w 1581150"/>
              <a:gd name="connsiteY1018" fmla="*/ 230381 h 1219200"/>
              <a:gd name="connsiteX1019" fmla="*/ 1161240 w 1581150"/>
              <a:gd name="connsiteY1019" fmla="*/ 230381 h 1219200"/>
              <a:gd name="connsiteX1020" fmla="*/ 1166422 w 1581150"/>
              <a:gd name="connsiteY1020" fmla="*/ 232972 h 1219200"/>
              <a:gd name="connsiteX1021" fmla="*/ 1169013 w 1581150"/>
              <a:gd name="connsiteY1021" fmla="*/ 235553 h 1219200"/>
              <a:gd name="connsiteX1022" fmla="*/ 1184567 w 1581150"/>
              <a:gd name="connsiteY1022" fmla="*/ 235553 h 1219200"/>
              <a:gd name="connsiteX1023" fmla="*/ 1187158 w 1581150"/>
              <a:gd name="connsiteY1023" fmla="*/ 232972 h 1219200"/>
              <a:gd name="connsiteX1024" fmla="*/ 1187158 w 1581150"/>
              <a:gd name="connsiteY1024" fmla="*/ 230381 h 1219200"/>
              <a:gd name="connsiteX1025" fmla="*/ 1176795 w 1581150"/>
              <a:gd name="connsiteY1025" fmla="*/ 220028 h 1219200"/>
              <a:gd name="connsiteX1026" fmla="*/ 1174195 w 1581150"/>
              <a:gd name="connsiteY1026" fmla="*/ 214846 h 1219200"/>
              <a:gd name="connsiteX1027" fmla="*/ 1169013 w 1581150"/>
              <a:gd name="connsiteY1027" fmla="*/ 214846 h 1219200"/>
              <a:gd name="connsiteX1028" fmla="*/ 1158650 w 1581150"/>
              <a:gd name="connsiteY1028" fmla="*/ 209674 h 1219200"/>
              <a:gd name="connsiteX1029" fmla="*/ 1153459 w 1581150"/>
              <a:gd name="connsiteY1029" fmla="*/ 204492 h 1219200"/>
              <a:gd name="connsiteX1030" fmla="*/ 1148277 w 1581150"/>
              <a:gd name="connsiteY1030" fmla="*/ 201911 h 1219200"/>
              <a:gd name="connsiteX1031" fmla="*/ 1145686 w 1581150"/>
              <a:gd name="connsiteY1031" fmla="*/ 199320 h 1219200"/>
              <a:gd name="connsiteX1032" fmla="*/ 1137914 w 1581150"/>
              <a:gd name="connsiteY1032" fmla="*/ 199320 h 1219200"/>
              <a:gd name="connsiteX1033" fmla="*/ 1132723 w 1581150"/>
              <a:gd name="connsiteY1033" fmla="*/ 196729 h 1219200"/>
              <a:gd name="connsiteX1034" fmla="*/ 1130132 w 1581150"/>
              <a:gd name="connsiteY1034" fmla="*/ 194138 h 1219200"/>
              <a:gd name="connsiteX1035" fmla="*/ 1130132 w 1581150"/>
              <a:gd name="connsiteY1035" fmla="*/ 188966 h 1219200"/>
              <a:gd name="connsiteX1036" fmla="*/ 1101624 w 1581150"/>
              <a:gd name="connsiteY1036" fmla="*/ 188966 h 1219200"/>
              <a:gd name="connsiteX1037" fmla="*/ 1101624 w 1581150"/>
              <a:gd name="connsiteY1037" fmla="*/ 199320 h 1219200"/>
              <a:gd name="connsiteX1038" fmla="*/ 1099032 w 1581150"/>
              <a:gd name="connsiteY1038" fmla="*/ 201911 h 1219200"/>
              <a:gd name="connsiteX1039" fmla="*/ 1096442 w 1581150"/>
              <a:gd name="connsiteY1039" fmla="*/ 201911 h 1219200"/>
              <a:gd name="connsiteX1040" fmla="*/ 1091251 w 1581150"/>
              <a:gd name="connsiteY1040" fmla="*/ 199320 h 1219200"/>
              <a:gd name="connsiteX1041" fmla="*/ 1086069 w 1581150"/>
              <a:gd name="connsiteY1041" fmla="*/ 194138 h 1219200"/>
              <a:gd name="connsiteX1042" fmla="*/ 1062742 w 1581150"/>
              <a:gd name="connsiteY1042" fmla="*/ 194138 h 1219200"/>
              <a:gd name="connsiteX1043" fmla="*/ 1060152 w 1581150"/>
              <a:gd name="connsiteY1043" fmla="*/ 196729 h 1219200"/>
              <a:gd name="connsiteX1044" fmla="*/ 1062742 w 1581150"/>
              <a:gd name="connsiteY1044" fmla="*/ 196729 h 1219200"/>
              <a:gd name="connsiteX1045" fmla="*/ 1062742 w 1581150"/>
              <a:gd name="connsiteY1045" fmla="*/ 199320 h 1219200"/>
              <a:gd name="connsiteX1046" fmla="*/ 1054961 w 1581150"/>
              <a:gd name="connsiteY1046" fmla="*/ 199320 h 1219200"/>
              <a:gd name="connsiteX1047" fmla="*/ 1052370 w 1581150"/>
              <a:gd name="connsiteY1047" fmla="*/ 196729 h 1219200"/>
              <a:gd name="connsiteX1048" fmla="*/ 1047188 w 1581150"/>
              <a:gd name="connsiteY1048" fmla="*/ 194138 h 1219200"/>
              <a:gd name="connsiteX1049" fmla="*/ 1044597 w 1581150"/>
              <a:gd name="connsiteY1049" fmla="*/ 188966 h 1219200"/>
              <a:gd name="connsiteX1050" fmla="*/ 1044597 w 1581150"/>
              <a:gd name="connsiteY1050" fmla="*/ 181194 h 1219200"/>
              <a:gd name="connsiteX1051" fmla="*/ 1047188 w 1581150"/>
              <a:gd name="connsiteY1051" fmla="*/ 181194 h 1219200"/>
              <a:gd name="connsiteX1052" fmla="*/ 1044597 w 1581150"/>
              <a:gd name="connsiteY1052" fmla="*/ 176022 h 1219200"/>
              <a:gd name="connsiteX1053" fmla="*/ 1042006 w 1581150"/>
              <a:gd name="connsiteY1053" fmla="*/ 165668 h 1219200"/>
              <a:gd name="connsiteX1054" fmla="*/ 1039416 w 1581150"/>
              <a:gd name="connsiteY1054" fmla="*/ 160487 h 1219200"/>
              <a:gd name="connsiteX1055" fmla="*/ 1039416 w 1581150"/>
              <a:gd name="connsiteY1055" fmla="*/ 124254 h 1219200"/>
              <a:gd name="connsiteX1056" fmla="*/ 1054961 w 1581150"/>
              <a:gd name="connsiteY1056" fmla="*/ 134607 h 1219200"/>
              <a:gd name="connsiteX1057" fmla="*/ 1070515 w 1581150"/>
              <a:gd name="connsiteY1057" fmla="*/ 134607 h 1219200"/>
              <a:gd name="connsiteX1058" fmla="*/ 1073105 w 1581150"/>
              <a:gd name="connsiteY1058" fmla="*/ 137189 h 1219200"/>
              <a:gd name="connsiteX1059" fmla="*/ 1078296 w 1581150"/>
              <a:gd name="connsiteY1059" fmla="*/ 137189 h 1219200"/>
              <a:gd name="connsiteX1060" fmla="*/ 1086069 w 1581150"/>
              <a:gd name="connsiteY1060" fmla="*/ 129426 h 1219200"/>
              <a:gd name="connsiteX1061" fmla="*/ 1086069 w 1581150"/>
              <a:gd name="connsiteY1061" fmla="*/ 124254 h 1219200"/>
              <a:gd name="connsiteX1062" fmla="*/ 1096442 w 1581150"/>
              <a:gd name="connsiteY1062" fmla="*/ 124254 h 1219200"/>
              <a:gd name="connsiteX1063" fmla="*/ 1101624 w 1581150"/>
              <a:gd name="connsiteY1063" fmla="*/ 121663 h 1219200"/>
              <a:gd name="connsiteX1064" fmla="*/ 1104214 w 1581150"/>
              <a:gd name="connsiteY1064" fmla="*/ 119072 h 1219200"/>
              <a:gd name="connsiteX1065" fmla="*/ 1104214 w 1581150"/>
              <a:gd name="connsiteY1065" fmla="*/ 113900 h 1219200"/>
              <a:gd name="connsiteX1066" fmla="*/ 1099032 w 1581150"/>
              <a:gd name="connsiteY1066" fmla="*/ 113900 h 1219200"/>
              <a:gd name="connsiteX1067" fmla="*/ 1096442 w 1581150"/>
              <a:gd name="connsiteY1067" fmla="*/ 111309 h 1219200"/>
              <a:gd name="connsiteX1068" fmla="*/ 1093841 w 1581150"/>
              <a:gd name="connsiteY1068" fmla="*/ 93183 h 1219200"/>
              <a:gd name="connsiteX1069" fmla="*/ 1093841 w 1581150"/>
              <a:gd name="connsiteY1069" fmla="*/ 62122 h 1219200"/>
              <a:gd name="connsiteX1070" fmla="*/ 1101624 w 1581150"/>
              <a:gd name="connsiteY1070" fmla="*/ 54359 h 1219200"/>
              <a:gd name="connsiteX1071" fmla="*/ 1101624 w 1581150"/>
              <a:gd name="connsiteY1071" fmla="*/ 49187 h 1219200"/>
              <a:gd name="connsiteX1072" fmla="*/ 1099032 w 1581150"/>
              <a:gd name="connsiteY1072" fmla="*/ 46596 h 1219200"/>
              <a:gd name="connsiteX1073" fmla="*/ 1093841 w 1581150"/>
              <a:gd name="connsiteY1073" fmla="*/ 44005 h 1219200"/>
              <a:gd name="connsiteX1074" fmla="*/ 1088660 w 1581150"/>
              <a:gd name="connsiteY1074" fmla="*/ 38824 h 1219200"/>
              <a:gd name="connsiteX1075" fmla="*/ 1083478 w 1581150"/>
              <a:gd name="connsiteY1075" fmla="*/ 38824 h 1219200"/>
              <a:gd name="connsiteX1076" fmla="*/ 1080888 w 1581150"/>
              <a:gd name="connsiteY1076" fmla="*/ 36243 h 1219200"/>
              <a:gd name="connsiteX1077" fmla="*/ 1075697 w 1581150"/>
              <a:gd name="connsiteY1077" fmla="*/ 36243 h 1219200"/>
              <a:gd name="connsiteX1078" fmla="*/ 1067924 w 1581150"/>
              <a:gd name="connsiteY1078" fmla="*/ 33652 h 1219200"/>
              <a:gd name="connsiteX1079" fmla="*/ 1065333 w 1581150"/>
              <a:gd name="connsiteY1079" fmla="*/ 33652 h 1219200"/>
              <a:gd name="connsiteX1080" fmla="*/ 1065333 w 1581150"/>
              <a:gd name="connsiteY1080" fmla="*/ 28470 h 1219200"/>
              <a:gd name="connsiteX1081" fmla="*/ 1067924 w 1581150"/>
              <a:gd name="connsiteY1081" fmla="*/ 28470 h 1219200"/>
              <a:gd name="connsiteX1082" fmla="*/ 1086069 w 1581150"/>
              <a:gd name="connsiteY1082" fmla="*/ 10354 h 1219200"/>
              <a:gd name="connsiteX1083" fmla="*/ 1101624 w 1581150"/>
              <a:gd name="connsiteY1083" fmla="*/ 7763 h 1219200"/>
              <a:gd name="connsiteX1084" fmla="*/ 1104214 w 1581150"/>
              <a:gd name="connsiteY1084" fmla="*/ 2591 h 1219200"/>
              <a:gd name="connsiteX1085" fmla="*/ 1122359 w 1581150"/>
              <a:gd name="connsiteY1085" fmla="*/ 5182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Lst>
            <a:rect l="l" t="t" r="r" b="b"/>
            <a:pathLst>
              <a:path w="1581150" h="1219200">
                <a:moveTo>
                  <a:pt x="1197530" y="1157078"/>
                </a:moveTo>
                <a:lnTo>
                  <a:pt x="1231221" y="1157078"/>
                </a:lnTo>
                <a:lnTo>
                  <a:pt x="1236412" y="1159669"/>
                </a:lnTo>
                <a:lnTo>
                  <a:pt x="1239002" y="1164841"/>
                </a:lnTo>
                <a:lnTo>
                  <a:pt x="1239002" y="1175195"/>
                </a:lnTo>
                <a:lnTo>
                  <a:pt x="1236412" y="1180376"/>
                </a:lnTo>
                <a:lnTo>
                  <a:pt x="1233811" y="1182958"/>
                </a:lnTo>
                <a:lnTo>
                  <a:pt x="1231221" y="1188139"/>
                </a:lnTo>
                <a:lnTo>
                  <a:pt x="1231221" y="1208846"/>
                </a:lnTo>
                <a:lnTo>
                  <a:pt x="1228630" y="1211437"/>
                </a:lnTo>
                <a:lnTo>
                  <a:pt x="1218266" y="1216609"/>
                </a:lnTo>
                <a:lnTo>
                  <a:pt x="1210485" y="1216609"/>
                </a:lnTo>
                <a:lnTo>
                  <a:pt x="1197530" y="1219200"/>
                </a:lnTo>
                <a:lnTo>
                  <a:pt x="1194940" y="1219200"/>
                </a:lnTo>
                <a:lnTo>
                  <a:pt x="1189749" y="1216609"/>
                </a:lnTo>
                <a:lnTo>
                  <a:pt x="1176795" y="1203665"/>
                </a:lnTo>
                <a:lnTo>
                  <a:pt x="1174195" y="1195902"/>
                </a:lnTo>
                <a:lnTo>
                  <a:pt x="1171604" y="1190730"/>
                </a:lnTo>
                <a:lnTo>
                  <a:pt x="1179386" y="1175195"/>
                </a:lnTo>
                <a:lnTo>
                  <a:pt x="1181976" y="1172604"/>
                </a:lnTo>
                <a:lnTo>
                  <a:pt x="1187158" y="1162250"/>
                </a:lnTo>
                <a:lnTo>
                  <a:pt x="1194940" y="1164841"/>
                </a:lnTo>
                <a:close/>
                <a:moveTo>
                  <a:pt x="1524000" y="971550"/>
                </a:moveTo>
                <a:lnTo>
                  <a:pt x="1543050" y="982561"/>
                </a:lnTo>
                <a:lnTo>
                  <a:pt x="1543050" y="988057"/>
                </a:lnTo>
                <a:lnTo>
                  <a:pt x="1540669" y="996315"/>
                </a:lnTo>
                <a:lnTo>
                  <a:pt x="1540669" y="1010069"/>
                </a:lnTo>
                <a:lnTo>
                  <a:pt x="1538288" y="1015575"/>
                </a:lnTo>
                <a:lnTo>
                  <a:pt x="1535906" y="1018327"/>
                </a:lnTo>
                <a:lnTo>
                  <a:pt x="1535906" y="1059609"/>
                </a:lnTo>
                <a:lnTo>
                  <a:pt x="1531144" y="1070610"/>
                </a:lnTo>
                <a:lnTo>
                  <a:pt x="1528763" y="1073363"/>
                </a:lnTo>
                <a:lnTo>
                  <a:pt x="1528763" y="1095375"/>
                </a:lnTo>
                <a:lnTo>
                  <a:pt x="1519238" y="1089870"/>
                </a:lnTo>
                <a:lnTo>
                  <a:pt x="1514475" y="1078868"/>
                </a:lnTo>
                <a:lnTo>
                  <a:pt x="1512094" y="1076115"/>
                </a:lnTo>
                <a:lnTo>
                  <a:pt x="1512094" y="1073363"/>
                </a:lnTo>
                <a:lnTo>
                  <a:pt x="1509713" y="1067857"/>
                </a:lnTo>
                <a:lnTo>
                  <a:pt x="1504950" y="1065104"/>
                </a:lnTo>
                <a:lnTo>
                  <a:pt x="1502569" y="1059609"/>
                </a:lnTo>
                <a:lnTo>
                  <a:pt x="1497806" y="1054103"/>
                </a:lnTo>
                <a:lnTo>
                  <a:pt x="1495425" y="1048598"/>
                </a:lnTo>
                <a:lnTo>
                  <a:pt x="1495425" y="1040339"/>
                </a:lnTo>
                <a:lnTo>
                  <a:pt x="1500188" y="1023833"/>
                </a:lnTo>
                <a:lnTo>
                  <a:pt x="1507331" y="1007326"/>
                </a:lnTo>
                <a:lnTo>
                  <a:pt x="1512094" y="990810"/>
                </a:lnTo>
                <a:lnTo>
                  <a:pt x="1514475" y="985314"/>
                </a:lnTo>
                <a:close/>
                <a:moveTo>
                  <a:pt x="1145686" y="0"/>
                </a:moveTo>
                <a:lnTo>
                  <a:pt x="1161240" y="7763"/>
                </a:lnTo>
                <a:lnTo>
                  <a:pt x="1176795" y="18116"/>
                </a:lnTo>
                <a:lnTo>
                  <a:pt x="1207894" y="18116"/>
                </a:lnTo>
                <a:lnTo>
                  <a:pt x="1210485" y="20707"/>
                </a:lnTo>
                <a:lnTo>
                  <a:pt x="1215676" y="23298"/>
                </a:lnTo>
                <a:lnTo>
                  <a:pt x="1218266" y="25889"/>
                </a:lnTo>
                <a:lnTo>
                  <a:pt x="1223448" y="28470"/>
                </a:lnTo>
                <a:lnTo>
                  <a:pt x="1223448" y="33652"/>
                </a:lnTo>
                <a:lnTo>
                  <a:pt x="1226039" y="33652"/>
                </a:lnTo>
                <a:lnTo>
                  <a:pt x="1231221" y="38824"/>
                </a:lnTo>
                <a:lnTo>
                  <a:pt x="1236412" y="41415"/>
                </a:lnTo>
                <a:lnTo>
                  <a:pt x="1241593" y="46596"/>
                </a:lnTo>
                <a:lnTo>
                  <a:pt x="1246775" y="46596"/>
                </a:lnTo>
                <a:lnTo>
                  <a:pt x="1249366" y="49187"/>
                </a:lnTo>
                <a:lnTo>
                  <a:pt x="1251957" y="49187"/>
                </a:lnTo>
                <a:lnTo>
                  <a:pt x="1254557" y="62122"/>
                </a:lnTo>
                <a:lnTo>
                  <a:pt x="1275293" y="72476"/>
                </a:lnTo>
                <a:lnTo>
                  <a:pt x="1280474" y="85420"/>
                </a:lnTo>
                <a:lnTo>
                  <a:pt x="1285656" y="85420"/>
                </a:lnTo>
                <a:lnTo>
                  <a:pt x="1306392" y="95774"/>
                </a:lnTo>
                <a:lnTo>
                  <a:pt x="1308983" y="100955"/>
                </a:lnTo>
                <a:lnTo>
                  <a:pt x="1316764" y="108718"/>
                </a:lnTo>
                <a:lnTo>
                  <a:pt x="1319356" y="113900"/>
                </a:lnTo>
                <a:lnTo>
                  <a:pt x="1324537" y="113900"/>
                </a:lnTo>
                <a:lnTo>
                  <a:pt x="1327128" y="124254"/>
                </a:lnTo>
                <a:lnTo>
                  <a:pt x="1329719" y="124254"/>
                </a:lnTo>
                <a:lnTo>
                  <a:pt x="1332309" y="126835"/>
                </a:lnTo>
                <a:lnTo>
                  <a:pt x="1342682" y="132016"/>
                </a:lnTo>
                <a:lnTo>
                  <a:pt x="1345273" y="134607"/>
                </a:lnTo>
                <a:lnTo>
                  <a:pt x="1350455" y="137189"/>
                </a:lnTo>
                <a:lnTo>
                  <a:pt x="1371190" y="137189"/>
                </a:lnTo>
                <a:lnTo>
                  <a:pt x="1376382" y="139779"/>
                </a:lnTo>
                <a:lnTo>
                  <a:pt x="1378972" y="142370"/>
                </a:lnTo>
                <a:lnTo>
                  <a:pt x="1384154" y="144961"/>
                </a:lnTo>
                <a:lnTo>
                  <a:pt x="1389336" y="139779"/>
                </a:lnTo>
                <a:lnTo>
                  <a:pt x="1394527" y="139779"/>
                </a:lnTo>
                <a:lnTo>
                  <a:pt x="1402299" y="147542"/>
                </a:lnTo>
                <a:lnTo>
                  <a:pt x="1407481" y="150133"/>
                </a:lnTo>
                <a:lnTo>
                  <a:pt x="1415263" y="157905"/>
                </a:lnTo>
                <a:lnTo>
                  <a:pt x="1433408" y="157905"/>
                </a:lnTo>
                <a:lnTo>
                  <a:pt x="1441180" y="170840"/>
                </a:lnTo>
                <a:lnTo>
                  <a:pt x="1448952" y="170840"/>
                </a:lnTo>
                <a:lnTo>
                  <a:pt x="1451543" y="173431"/>
                </a:lnTo>
                <a:lnTo>
                  <a:pt x="1451543" y="176022"/>
                </a:lnTo>
                <a:lnTo>
                  <a:pt x="1454144" y="181194"/>
                </a:lnTo>
                <a:lnTo>
                  <a:pt x="1454144" y="186376"/>
                </a:lnTo>
                <a:lnTo>
                  <a:pt x="1472289" y="199320"/>
                </a:lnTo>
                <a:lnTo>
                  <a:pt x="1482652" y="196729"/>
                </a:lnTo>
                <a:lnTo>
                  <a:pt x="1487834" y="201911"/>
                </a:lnTo>
                <a:lnTo>
                  <a:pt x="1495616" y="201911"/>
                </a:lnTo>
                <a:lnTo>
                  <a:pt x="1495616" y="196729"/>
                </a:lnTo>
                <a:lnTo>
                  <a:pt x="1508570" y="199320"/>
                </a:lnTo>
                <a:lnTo>
                  <a:pt x="1508570" y="191548"/>
                </a:lnTo>
                <a:lnTo>
                  <a:pt x="1511170" y="188966"/>
                </a:lnTo>
                <a:lnTo>
                  <a:pt x="1513761" y="188966"/>
                </a:lnTo>
                <a:lnTo>
                  <a:pt x="1518942" y="186376"/>
                </a:lnTo>
                <a:lnTo>
                  <a:pt x="1531906" y="186376"/>
                </a:lnTo>
                <a:lnTo>
                  <a:pt x="1534497" y="176022"/>
                </a:lnTo>
                <a:lnTo>
                  <a:pt x="1552642" y="176022"/>
                </a:lnTo>
                <a:lnTo>
                  <a:pt x="1557824" y="178613"/>
                </a:lnTo>
                <a:lnTo>
                  <a:pt x="1560414" y="183785"/>
                </a:lnTo>
                <a:lnTo>
                  <a:pt x="1560414" y="191548"/>
                </a:lnTo>
                <a:lnTo>
                  <a:pt x="1570777" y="196729"/>
                </a:lnTo>
                <a:lnTo>
                  <a:pt x="1570777" y="209674"/>
                </a:lnTo>
                <a:lnTo>
                  <a:pt x="1563005" y="212265"/>
                </a:lnTo>
                <a:lnTo>
                  <a:pt x="1568186" y="220028"/>
                </a:lnTo>
                <a:lnTo>
                  <a:pt x="1568186" y="227790"/>
                </a:lnTo>
                <a:lnTo>
                  <a:pt x="1573378" y="232972"/>
                </a:lnTo>
                <a:lnTo>
                  <a:pt x="1573378" y="243326"/>
                </a:lnTo>
                <a:lnTo>
                  <a:pt x="1581150" y="245907"/>
                </a:lnTo>
                <a:lnTo>
                  <a:pt x="1578560" y="258851"/>
                </a:lnTo>
                <a:lnTo>
                  <a:pt x="1581150" y="269205"/>
                </a:lnTo>
                <a:lnTo>
                  <a:pt x="1578560" y="271796"/>
                </a:lnTo>
                <a:lnTo>
                  <a:pt x="1575968" y="271796"/>
                </a:lnTo>
                <a:lnTo>
                  <a:pt x="1575968" y="279559"/>
                </a:lnTo>
                <a:lnTo>
                  <a:pt x="1578560" y="284740"/>
                </a:lnTo>
                <a:lnTo>
                  <a:pt x="1578560" y="289913"/>
                </a:lnTo>
                <a:lnTo>
                  <a:pt x="1575968" y="292503"/>
                </a:lnTo>
                <a:lnTo>
                  <a:pt x="1573378" y="292503"/>
                </a:lnTo>
                <a:lnTo>
                  <a:pt x="1568186" y="289913"/>
                </a:lnTo>
                <a:lnTo>
                  <a:pt x="1563005" y="289913"/>
                </a:lnTo>
                <a:lnTo>
                  <a:pt x="1555232" y="287331"/>
                </a:lnTo>
                <a:lnTo>
                  <a:pt x="1550041" y="284740"/>
                </a:lnTo>
                <a:lnTo>
                  <a:pt x="1539678" y="284740"/>
                </a:lnTo>
                <a:lnTo>
                  <a:pt x="1537088" y="287331"/>
                </a:lnTo>
                <a:lnTo>
                  <a:pt x="1539678" y="289913"/>
                </a:lnTo>
                <a:lnTo>
                  <a:pt x="1539678" y="295094"/>
                </a:lnTo>
                <a:lnTo>
                  <a:pt x="1529306" y="295094"/>
                </a:lnTo>
                <a:lnTo>
                  <a:pt x="1529306" y="300266"/>
                </a:lnTo>
                <a:lnTo>
                  <a:pt x="1531906" y="305448"/>
                </a:lnTo>
                <a:lnTo>
                  <a:pt x="1534497" y="305448"/>
                </a:lnTo>
                <a:lnTo>
                  <a:pt x="1539678" y="310629"/>
                </a:lnTo>
                <a:lnTo>
                  <a:pt x="1544860" y="313211"/>
                </a:lnTo>
                <a:lnTo>
                  <a:pt x="1550041" y="320983"/>
                </a:lnTo>
                <a:lnTo>
                  <a:pt x="1555232" y="326155"/>
                </a:lnTo>
                <a:lnTo>
                  <a:pt x="1557824" y="333918"/>
                </a:lnTo>
                <a:lnTo>
                  <a:pt x="1557824" y="339100"/>
                </a:lnTo>
                <a:lnTo>
                  <a:pt x="1563005" y="344272"/>
                </a:lnTo>
                <a:lnTo>
                  <a:pt x="1565596" y="349453"/>
                </a:lnTo>
                <a:lnTo>
                  <a:pt x="1568186" y="364988"/>
                </a:lnTo>
                <a:lnTo>
                  <a:pt x="1555232" y="362398"/>
                </a:lnTo>
                <a:lnTo>
                  <a:pt x="1552642" y="372751"/>
                </a:lnTo>
                <a:lnTo>
                  <a:pt x="1544860" y="362398"/>
                </a:lnTo>
                <a:lnTo>
                  <a:pt x="1531906" y="362398"/>
                </a:lnTo>
                <a:lnTo>
                  <a:pt x="1531906" y="364988"/>
                </a:lnTo>
                <a:lnTo>
                  <a:pt x="1534497" y="367570"/>
                </a:lnTo>
                <a:lnTo>
                  <a:pt x="1537088" y="372751"/>
                </a:lnTo>
                <a:lnTo>
                  <a:pt x="1537088" y="380514"/>
                </a:lnTo>
                <a:lnTo>
                  <a:pt x="1526714" y="380514"/>
                </a:lnTo>
                <a:lnTo>
                  <a:pt x="1529306" y="385696"/>
                </a:lnTo>
                <a:lnTo>
                  <a:pt x="1529306" y="388277"/>
                </a:lnTo>
                <a:lnTo>
                  <a:pt x="1526714" y="393459"/>
                </a:lnTo>
                <a:lnTo>
                  <a:pt x="1521533" y="396049"/>
                </a:lnTo>
                <a:lnTo>
                  <a:pt x="1516352" y="393459"/>
                </a:lnTo>
                <a:lnTo>
                  <a:pt x="1505978" y="393459"/>
                </a:lnTo>
                <a:lnTo>
                  <a:pt x="1503388" y="390868"/>
                </a:lnTo>
                <a:lnTo>
                  <a:pt x="1500797" y="393459"/>
                </a:lnTo>
                <a:lnTo>
                  <a:pt x="1500797" y="398631"/>
                </a:lnTo>
                <a:lnTo>
                  <a:pt x="1511170" y="408984"/>
                </a:lnTo>
                <a:lnTo>
                  <a:pt x="1513761" y="408984"/>
                </a:lnTo>
                <a:lnTo>
                  <a:pt x="1513761" y="414166"/>
                </a:lnTo>
                <a:lnTo>
                  <a:pt x="1493025" y="414166"/>
                </a:lnTo>
                <a:lnTo>
                  <a:pt x="1487834" y="411575"/>
                </a:lnTo>
                <a:lnTo>
                  <a:pt x="1482652" y="411575"/>
                </a:lnTo>
                <a:lnTo>
                  <a:pt x="1477470" y="406403"/>
                </a:lnTo>
                <a:lnTo>
                  <a:pt x="1472289" y="403812"/>
                </a:lnTo>
                <a:lnTo>
                  <a:pt x="1467098" y="403812"/>
                </a:lnTo>
                <a:lnTo>
                  <a:pt x="1467098" y="406403"/>
                </a:lnTo>
                <a:lnTo>
                  <a:pt x="1464507" y="408984"/>
                </a:lnTo>
                <a:lnTo>
                  <a:pt x="1464507" y="421929"/>
                </a:lnTo>
                <a:lnTo>
                  <a:pt x="1456734" y="437464"/>
                </a:lnTo>
                <a:lnTo>
                  <a:pt x="1451543" y="442636"/>
                </a:lnTo>
                <a:lnTo>
                  <a:pt x="1435998" y="450409"/>
                </a:lnTo>
                <a:lnTo>
                  <a:pt x="1433408" y="455581"/>
                </a:lnTo>
                <a:lnTo>
                  <a:pt x="1430807" y="458171"/>
                </a:lnTo>
                <a:lnTo>
                  <a:pt x="1430807" y="463344"/>
                </a:lnTo>
                <a:lnTo>
                  <a:pt x="1428216" y="468525"/>
                </a:lnTo>
                <a:lnTo>
                  <a:pt x="1410072" y="468525"/>
                </a:lnTo>
                <a:lnTo>
                  <a:pt x="1407481" y="471116"/>
                </a:lnTo>
                <a:lnTo>
                  <a:pt x="1386745" y="481470"/>
                </a:lnTo>
                <a:lnTo>
                  <a:pt x="1384154" y="484061"/>
                </a:lnTo>
                <a:lnTo>
                  <a:pt x="1381563" y="484061"/>
                </a:lnTo>
                <a:lnTo>
                  <a:pt x="1381563" y="494414"/>
                </a:lnTo>
                <a:lnTo>
                  <a:pt x="1376382" y="499586"/>
                </a:lnTo>
                <a:lnTo>
                  <a:pt x="1373791" y="499586"/>
                </a:lnTo>
                <a:lnTo>
                  <a:pt x="1368600" y="502177"/>
                </a:lnTo>
                <a:lnTo>
                  <a:pt x="1366009" y="504768"/>
                </a:lnTo>
                <a:lnTo>
                  <a:pt x="1360827" y="507349"/>
                </a:lnTo>
                <a:lnTo>
                  <a:pt x="1358236" y="507349"/>
                </a:lnTo>
                <a:lnTo>
                  <a:pt x="1358236" y="504768"/>
                </a:lnTo>
                <a:lnTo>
                  <a:pt x="1366009" y="496996"/>
                </a:lnTo>
                <a:lnTo>
                  <a:pt x="1368600" y="484061"/>
                </a:lnTo>
                <a:lnTo>
                  <a:pt x="1366009" y="484061"/>
                </a:lnTo>
                <a:lnTo>
                  <a:pt x="1360827" y="486642"/>
                </a:lnTo>
                <a:lnTo>
                  <a:pt x="1358236" y="486642"/>
                </a:lnTo>
                <a:lnTo>
                  <a:pt x="1353045" y="481470"/>
                </a:lnTo>
                <a:lnTo>
                  <a:pt x="1350455" y="476288"/>
                </a:lnTo>
                <a:lnTo>
                  <a:pt x="1350455" y="471116"/>
                </a:lnTo>
                <a:lnTo>
                  <a:pt x="1358236" y="463344"/>
                </a:lnTo>
                <a:lnTo>
                  <a:pt x="1363418" y="452990"/>
                </a:lnTo>
                <a:lnTo>
                  <a:pt x="1363418" y="450409"/>
                </a:lnTo>
                <a:lnTo>
                  <a:pt x="1358236" y="440055"/>
                </a:lnTo>
                <a:lnTo>
                  <a:pt x="1353045" y="437464"/>
                </a:lnTo>
                <a:lnTo>
                  <a:pt x="1350455" y="432283"/>
                </a:lnTo>
                <a:lnTo>
                  <a:pt x="1345273" y="429701"/>
                </a:lnTo>
                <a:lnTo>
                  <a:pt x="1337500" y="437464"/>
                </a:lnTo>
                <a:lnTo>
                  <a:pt x="1321946" y="432283"/>
                </a:lnTo>
                <a:lnTo>
                  <a:pt x="1327128" y="437464"/>
                </a:lnTo>
                <a:lnTo>
                  <a:pt x="1319356" y="442636"/>
                </a:lnTo>
                <a:lnTo>
                  <a:pt x="1319356" y="445227"/>
                </a:lnTo>
                <a:lnTo>
                  <a:pt x="1316764" y="447818"/>
                </a:lnTo>
                <a:lnTo>
                  <a:pt x="1316764" y="452990"/>
                </a:lnTo>
                <a:lnTo>
                  <a:pt x="1314174" y="458171"/>
                </a:lnTo>
                <a:lnTo>
                  <a:pt x="1311573" y="460762"/>
                </a:lnTo>
                <a:lnTo>
                  <a:pt x="1296029" y="460762"/>
                </a:lnTo>
                <a:lnTo>
                  <a:pt x="1296029" y="463344"/>
                </a:lnTo>
                <a:lnTo>
                  <a:pt x="1293429" y="468525"/>
                </a:lnTo>
                <a:lnTo>
                  <a:pt x="1293429" y="478879"/>
                </a:lnTo>
                <a:lnTo>
                  <a:pt x="1296029" y="481470"/>
                </a:lnTo>
                <a:lnTo>
                  <a:pt x="1296029" y="486642"/>
                </a:lnTo>
                <a:lnTo>
                  <a:pt x="1293429" y="489233"/>
                </a:lnTo>
                <a:lnTo>
                  <a:pt x="1288247" y="491823"/>
                </a:lnTo>
                <a:lnTo>
                  <a:pt x="1283065" y="491823"/>
                </a:lnTo>
                <a:lnTo>
                  <a:pt x="1280474" y="489233"/>
                </a:lnTo>
                <a:lnTo>
                  <a:pt x="1277884" y="489233"/>
                </a:lnTo>
                <a:lnTo>
                  <a:pt x="1275293" y="491823"/>
                </a:lnTo>
                <a:lnTo>
                  <a:pt x="1275293" y="494414"/>
                </a:lnTo>
                <a:lnTo>
                  <a:pt x="1272693" y="496996"/>
                </a:lnTo>
                <a:lnTo>
                  <a:pt x="1270102" y="496996"/>
                </a:lnTo>
                <a:lnTo>
                  <a:pt x="1264920" y="491823"/>
                </a:lnTo>
                <a:lnTo>
                  <a:pt x="1257148" y="491823"/>
                </a:lnTo>
                <a:lnTo>
                  <a:pt x="1257148" y="509940"/>
                </a:lnTo>
                <a:lnTo>
                  <a:pt x="1259738" y="515121"/>
                </a:lnTo>
                <a:lnTo>
                  <a:pt x="1264920" y="517703"/>
                </a:lnTo>
                <a:lnTo>
                  <a:pt x="1267511" y="522884"/>
                </a:lnTo>
                <a:lnTo>
                  <a:pt x="1270102" y="525475"/>
                </a:lnTo>
                <a:lnTo>
                  <a:pt x="1275293" y="528066"/>
                </a:lnTo>
                <a:lnTo>
                  <a:pt x="1290838" y="528066"/>
                </a:lnTo>
                <a:lnTo>
                  <a:pt x="1296029" y="535829"/>
                </a:lnTo>
                <a:lnTo>
                  <a:pt x="1296029" y="530647"/>
                </a:lnTo>
                <a:lnTo>
                  <a:pt x="1298620" y="528066"/>
                </a:lnTo>
                <a:lnTo>
                  <a:pt x="1303801" y="528066"/>
                </a:lnTo>
                <a:lnTo>
                  <a:pt x="1306392" y="530647"/>
                </a:lnTo>
                <a:lnTo>
                  <a:pt x="1308983" y="535829"/>
                </a:lnTo>
                <a:lnTo>
                  <a:pt x="1314174" y="551355"/>
                </a:lnTo>
                <a:lnTo>
                  <a:pt x="1316764" y="556536"/>
                </a:lnTo>
                <a:lnTo>
                  <a:pt x="1319356" y="559127"/>
                </a:lnTo>
                <a:lnTo>
                  <a:pt x="1329719" y="564299"/>
                </a:lnTo>
                <a:lnTo>
                  <a:pt x="1342682" y="564299"/>
                </a:lnTo>
                <a:lnTo>
                  <a:pt x="1342682" y="561708"/>
                </a:lnTo>
                <a:lnTo>
                  <a:pt x="1345273" y="559127"/>
                </a:lnTo>
                <a:lnTo>
                  <a:pt x="1345273" y="553946"/>
                </a:lnTo>
                <a:lnTo>
                  <a:pt x="1353045" y="546183"/>
                </a:lnTo>
                <a:lnTo>
                  <a:pt x="1358236" y="543592"/>
                </a:lnTo>
                <a:lnTo>
                  <a:pt x="1360827" y="538420"/>
                </a:lnTo>
                <a:lnTo>
                  <a:pt x="1371190" y="538420"/>
                </a:lnTo>
                <a:lnTo>
                  <a:pt x="1373791" y="541001"/>
                </a:lnTo>
                <a:lnTo>
                  <a:pt x="1378972" y="543592"/>
                </a:lnTo>
                <a:lnTo>
                  <a:pt x="1381563" y="548774"/>
                </a:lnTo>
                <a:lnTo>
                  <a:pt x="1384154" y="551355"/>
                </a:lnTo>
                <a:lnTo>
                  <a:pt x="1399708" y="551355"/>
                </a:lnTo>
                <a:lnTo>
                  <a:pt x="1402299" y="546183"/>
                </a:lnTo>
                <a:lnTo>
                  <a:pt x="1407481" y="551355"/>
                </a:lnTo>
                <a:lnTo>
                  <a:pt x="1420444" y="551355"/>
                </a:lnTo>
                <a:lnTo>
                  <a:pt x="1417854" y="561708"/>
                </a:lnTo>
                <a:lnTo>
                  <a:pt x="1420444" y="564299"/>
                </a:lnTo>
                <a:lnTo>
                  <a:pt x="1420444" y="566890"/>
                </a:lnTo>
                <a:lnTo>
                  <a:pt x="1423035" y="569481"/>
                </a:lnTo>
                <a:lnTo>
                  <a:pt x="1423035" y="572072"/>
                </a:lnTo>
                <a:lnTo>
                  <a:pt x="1412672" y="572072"/>
                </a:lnTo>
                <a:lnTo>
                  <a:pt x="1410072" y="569481"/>
                </a:lnTo>
                <a:lnTo>
                  <a:pt x="1404890" y="569481"/>
                </a:lnTo>
                <a:lnTo>
                  <a:pt x="1389336" y="579834"/>
                </a:lnTo>
                <a:lnTo>
                  <a:pt x="1378972" y="579834"/>
                </a:lnTo>
                <a:lnTo>
                  <a:pt x="1378972" y="585006"/>
                </a:lnTo>
                <a:lnTo>
                  <a:pt x="1381563" y="590188"/>
                </a:lnTo>
                <a:lnTo>
                  <a:pt x="1381563" y="597951"/>
                </a:lnTo>
                <a:lnTo>
                  <a:pt x="1376382" y="603133"/>
                </a:lnTo>
                <a:lnTo>
                  <a:pt x="1371190" y="600542"/>
                </a:lnTo>
                <a:lnTo>
                  <a:pt x="1368600" y="597951"/>
                </a:lnTo>
                <a:lnTo>
                  <a:pt x="1363418" y="595360"/>
                </a:lnTo>
                <a:lnTo>
                  <a:pt x="1366009" y="600542"/>
                </a:lnTo>
                <a:lnTo>
                  <a:pt x="1366009" y="603133"/>
                </a:lnTo>
                <a:lnTo>
                  <a:pt x="1368600" y="608305"/>
                </a:lnTo>
                <a:lnTo>
                  <a:pt x="1368600" y="610895"/>
                </a:lnTo>
                <a:lnTo>
                  <a:pt x="1366009" y="616067"/>
                </a:lnTo>
                <a:lnTo>
                  <a:pt x="1363418" y="618658"/>
                </a:lnTo>
                <a:lnTo>
                  <a:pt x="1360827" y="623840"/>
                </a:lnTo>
                <a:lnTo>
                  <a:pt x="1355646" y="626431"/>
                </a:lnTo>
                <a:lnTo>
                  <a:pt x="1350455" y="631603"/>
                </a:lnTo>
                <a:lnTo>
                  <a:pt x="1353045" y="634194"/>
                </a:lnTo>
                <a:lnTo>
                  <a:pt x="1353045" y="639366"/>
                </a:lnTo>
                <a:lnTo>
                  <a:pt x="1355646" y="641956"/>
                </a:lnTo>
                <a:lnTo>
                  <a:pt x="1358236" y="647138"/>
                </a:lnTo>
                <a:lnTo>
                  <a:pt x="1366009" y="644547"/>
                </a:lnTo>
                <a:lnTo>
                  <a:pt x="1381563" y="657492"/>
                </a:lnTo>
                <a:lnTo>
                  <a:pt x="1397118" y="660073"/>
                </a:lnTo>
                <a:lnTo>
                  <a:pt x="1430807" y="704079"/>
                </a:lnTo>
                <a:lnTo>
                  <a:pt x="1430807" y="709260"/>
                </a:lnTo>
                <a:lnTo>
                  <a:pt x="1433408" y="711851"/>
                </a:lnTo>
                <a:lnTo>
                  <a:pt x="1433408" y="717023"/>
                </a:lnTo>
                <a:lnTo>
                  <a:pt x="1438590" y="722204"/>
                </a:lnTo>
                <a:lnTo>
                  <a:pt x="1446362" y="722204"/>
                </a:lnTo>
                <a:lnTo>
                  <a:pt x="1451543" y="724786"/>
                </a:lnTo>
                <a:lnTo>
                  <a:pt x="1456734" y="729967"/>
                </a:lnTo>
                <a:lnTo>
                  <a:pt x="1456734" y="737730"/>
                </a:lnTo>
                <a:lnTo>
                  <a:pt x="1464507" y="740321"/>
                </a:lnTo>
                <a:lnTo>
                  <a:pt x="1472289" y="750675"/>
                </a:lnTo>
                <a:lnTo>
                  <a:pt x="1454144" y="745503"/>
                </a:lnTo>
                <a:lnTo>
                  <a:pt x="1446362" y="748084"/>
                </a:lnTo>
                <a:lnTo>
                  <a:pt x="1441180" y="740321"/>
                </a:lnTo>
                <a:lnTo>
                  <a:pt x="1428216" y="737730"/>
                </a:lnTo>
                <a:lnTo>
                  <a:pt x="1425626" y="737730"/>
                </a:lnTo>
                <a:lnTo>
                  <a:pt x="1423035" y="740321"/>
                </a:lnTo>
                <a:lnTo>
                  <a:pt x="1417854" y="740321"/>
                </a:lnTo>
                <a:lnTo>
                  <a:pt x="1412672" y="737730"/>
                </a:lnTo>
                <a:lnTo>
                  <a:pt x="1410072" y="735149"/>
                </a:lnTo>
                <a:lnTo>
                  <a:pt x="1406973" y="733600"/>
                </a:lnTo>
                <a:lnTo>
                  <a:pt x="1402299" y="727377"/>
                </a:lnTo>
                <a:lnTo>
                  <a:pt x="1404890" y="732558"/>
                </a:lnTo>
                <a:lnTo>
                  <a:pt x="1406973" y="733600"/>
                </a:lnTo>
                <a:lnTo>
                  <a:pt x="1417854" y="748084"/>
                </a:lnTo>
                <a:lnTo>
                  <a:pt x="1420444" y="748084"/>
                </a:lnTo>
                <a:lnTo>
                  <a:pt x="1423035" y="745503"/>
                </a:lnTo>
                <a:lnTo>
                  <a:pt x="1435998" y="745503"/>
                </a:lnTo>
                <a:lnTo>
                  <a:pt x="1441180" y="748084"/>
                </a:lnTo>
                <a:lnTo>
                  <a:pt x="1443771" y="753266"/>
                </a:lnTo>
                <a:lnTo>
                  <a:pt x="1448952" y="753266"/>
                </a:lnTo>
                <a:lnTo>
                  <a:pt x="1454144" y="761029"/>
                </a:lnTo>
                <a:lnTo>
                  <a:pt x="1459326" y="761029"/>
                </a:lnTo>
                <a:lnTo>
                  <a:pt x="1464507" y="763619"/>
                </a:lnTo>
                <a:lnTo>
                  <a:pt x="1472289" y="763619"/>
                </a:lnTo>
                <a:lnTo>
                  <a:pt x="1474880" y="766210"/>
                </a:lnTo>
                <a:lnTo>
                  <a:pt x="1474880" y="768791"/>
                </a:lnTo>
                <a:lnTo>
                  <a:pt x="1477470" y="773973"/>
                </a:lnTo>
                <a:lnTo>
                  <a:pt x="1480061" y="776564"/>
                </a:lnTo>
                <a:lnTo>
                  <a:pt x="1482652" y="781736"/>
                </a:lnTo>
                <a:lnTo>
                  <a:pt x="1469688" y="781736"/>
                </a:lnTo>
                <a:lnTo>
                  <a:pt x="1464507" y="784327"/>
                </a:lnTo>
                <a:lnTo>
                  <a:pt x="1461916" y="786917"/>
                </a:lnTo>
                <a:lnTo>
                  <a:pt x="1459326" y="792089"/>
                </a:lnTo>
                <a:lnTo>
                  <a:pt x="1459326" y="797271"/>
                </a:lnTo>
                <a:lnTo>
                  <a:pt x="1441180" y="797271"/>
                </a:lnTo>
                <a:lnTo>
                  <a:pt x="1448952" y="805034"/>
                </a:lnTo>
                <a:lnTo>
                  <a:pt x="1454144" y="802443"/>
                </a:lnTo>
                <a:lnTo>
                  <a:pt x="1467098" y="799862"/>
                </a:lnTo>
                <a:lnTo>
                  <a:pt x="1485243" y="797271"/>
                </a:lnTo>
                <a:lnTo>
                  <a:pt x="1500797" y="794680"/>
                </a:lnTo>
                <a:lnTo>
                  <a:pt x="1511170" y="797271"/>
                </a:lnTo>
                <a:lnTo>
                  <a:pt x="1513761" y="799862"/>
                </a:lnTo>
                <a:lnTo>
                  <a:pt x="1513761" y="805034"/>
                </a:lnTo>
                <a:lnTo>
                  <a:pt x="1511170" y="807625"/>
                </a:lnTo>
                <a:lnTo>
                  <a:pt x="1505978" y="817979"/>
                </a:lnTo>
                <a:lnTo>
                  <a:pt x="1498206" y="825741"/>
                </a:lnTo>
                <a:lnTo>
                  <a:pt x="1500797" y="825741"/>
                </a:lnTo>
                <a:lnTo>
                  <a:pt x="1508570" y="833504"/>
                </a:lnTo>
                <a:lnTo>
                  <a:pt x="1503388" y="838686"/>
                </a:lnTo>
                <a:lnTo>
                  <a:pt x="1498206" y="841277"/>
                </a:lnTo>
                <a:lnTo>
                  <a:pt x="1493025" y="841277"/>
                </a:lnTo>
                <a:lnTo>
                  <a:pt x="1490424" y="843867"/>
                </a:lnTo>
                <a:lnTo>
                  <a:pt x="1493025" y="843867"/>
                </a:lnTo>
                <a:lnTo>
                  <a:pt x="1495616" y="846449"/>
                </a:lnTo>
                <a:lnTo>
                  <a:pt x="1495616" y="854221"/>
                </a:lnTo>
                <a:lnTo>
                  <a:pt x="1493025" y="859393"/>
                </a:lnTo>
                <a:lnTo>
                  <a:pt x="1477470" y="867156"/>
                </a:lnTo>
                <a:lnTo>
                  <a:pt x="1474880" y="869747"/>
                </a:lnTo>
                <a:lnTo>
                  <a:pt x="1472289" y="869747"/>
                </a:lnTo>
                <a:lnTo>
                  <a:pt x="1472289" y="885282"/>
                </a:lnTo>
                <a:lnTo>
                  <a:pt x="1469688" y="887863"/>
                </a:lnTo>
                <a:lnTo>
                  <a:pt x="1464507" y="890454"/>
                </a:lnTo>
                <a:lnTo>
                  <a:pt x="1464507" y="895636"/>
                </a:lnTo>
                <a:lnTo>
                  <a:pt x="1472289" y="903399"/>
                </a:lnTo>
                <a:lnTo>
                  <a:pt x="1472289" y="913752"/>
                </a:lnTo>
                <a:lnTo>
                  <a:pt x="1469688" y="916343"/>
                </a:lnTo>
                <a:lnTo>
                  <a:pt x="1464507" y="918934"/>
                </a:lnTo>
                <a:lnTo>
                  <a:pt x="1461916" y="921515"/>
                </a:lnTo>
                <a:lnTo>
                  <a:pt x="1459326" y="921515"/>
                </a:lnTo>
                <a:lnTo>
                  <a:pt x="1456734" y="924106"/>
                </a:lnTo>
                <a:lnTo>
                  <a:pt x="1456734" y="929287"/>
                </a:lnTo>
                <a:lnTo>
                  <a:pt x="1459326" y="931869"/>
                </a:lnTo>
                <a:lnTo>
                  <a:pt x="1461916" y="937050"/>
                </a:lnTo>
                <a:lnTo>
                  <a:pt x="1461916" y="947404"/>
                </a:lnTo>
                <a:lnTo>
                  <a:pt x="1456734" y="952586"/>
                </a:lnTo>
                <a:lnTo>
                  <a:pt x="1451543" y="952586"/>
                </a:lnTo>
                <a:lnTo>
                  <a:pt x="1451543" y="970702"/>
                </a:lnTo>
                <a:lnTo>
                  <a:pt x="1446362" y="970702"/>
                </a:lnTo>
                <a:lnTo>
                  <a:pt x="1441180" y="986228"/>
                </a:lnTo>
                <a:lnTo>
                  <a:pt x="1430807" y="986228"/>
                </a:lnTo>
                <a:lnTo>
                  <a:pt x="1425626" y="999172"/>
                </a:lnTo>
                <a:lnTo>
                  <a:pt x="1417854" y="999172"/>
                </a:lnTo>
                <a:lnTo>
                  <a:pt x="1420444" y="1001763"/>
                </a:lnTo>
                <a:lnTo>
                  <a:pt x="1423035" y="1006945"/>
                </a:lnTo>
                <a:lnTo>
                  <a:pt x="1423035" y="1009526"/>
                </a:lnTo>
                <a:lnTo>
                  <a:pt x="1425626" y="1014708"/>
                </a:lnTo>
                <a:lnTo>
                  <a:pt x="1423035" y="1017299"/>
                </a:lnTo>
                <a:lnTo>
                  <a:pt x="1420444" y="1022471"/>
                </a:lnTo>
                <a:lnTo>
                  <a:pt x="1397118" y="1045769"/>
                </a:lnTo>
                <a:lnTo>
                  <a:pt x="1376382" y="1056123"/>
                </a:lnTo>
                <a:lnTo>
                  <a:pt x="1363418" y="1056123"/>
                </a:lnTo>
                <a:lnTo>
                  <a:pt x="1360827" y="1053532"/>
                </a:lnTo>
                <a:lnTo>
                  <a:pt x="1358236" y="1053532"/>
                </a:lnTo>
                <a:lnTo>
                  <a:pt x="1345273" y="1058713"/>
                </a:lnTo>
                <a:lnTo>
                  <a:pt x="1337500" y="1050950"/>
                </a:lnTo>
                <a:lnTo>
                  <a:pt x="1334910" y="1056123"/>
                </a:lnTo>
                <a:lnTo>
                  <a:pt x="1327128" y="1063885"/>
                </a:lnTo>
                <a:lnTo>
                  <a:pt x="1324537" y="1069067"/>
                </a:lnTo>
                <a:lnTo>
                  <a:pt x="1319356" y="1071658"/>
                </a:lnTo>
                <a:lnTo>
                  <a:pt x="1316764" y="1074239"/>
                </a:lnTo>
                <a:lnTo>
                  <a:pt x="1314174" y="1074239"/>
                </a:lnTo>
                <a:lnTo>
                  <a:pt x="1311573" y="1071658"/>
                </a:lnTo>
                <a:lnTo>
                  <a:pt x="1306392" y="1061304"/>
                </a:lnTo>
                <a:lnTo>
                  <a:pt x="1301210" y="1056123"/>
                </a:lnTo>
                <a:lnTo>
                  <a:pt x="1298620" y="1058713"/>
                </a:lnTo>
                <a:lnTo>
                  <a:pt x="1296029" y="1063885"/>
                </a:lnTo>
                <a:lnTo>
                  <a:pt x="1296029" y="1082011"/>
                </a:lnTo>
                <a:lnTo>
                  <a:pt x="1288247" y="1089774"/>
                </a:lnTo>
                <a:lnTo>
                  <a:pt x="1280474" y="1092365"/>
                </a:lnTo>
                <a:lnTo>
                  <a:pt x="1270102" y="1094946"/>
                </a:lnTo>
                <a:lnTo>
                  <a:pt x="1262329" y="1094946"/>
                </a:lnTo>
                <a:lnTo>
                  <a:pt x="1257148" y="1097537"/>
                </a:lnTo>
                <a:lnTo>
                  <a:pt x="1251957" y="1097537"/>
                </a:lnTo>
                <a:lnTo>
                  <a:pt x="1246775" y="1100128"/>
                </a:lnTo>
                <a:lnTo>
                  <a:pt x="1233811" y="1100128"/>
                </a:lnTo>
                <a:lnTo>
                  <a:pt x="1228630" y="1102719"/>
                </a:lnTo>
                <a:lnTo>
                  <a:pt x="1223448" y="1107891"/>
                </a:lnTo>
                <a:lnTo>
                  <a:pt x="1220858" y="1115663"/>
                </a:lnTo>
                <a:lnTo>
                  <a:pt x="1220858" y="1133780"/>
                </a:lnTo>
                <a:lnTo>
                  <a:pt x="1223448" y="1136371"/>
                </a:lnTo>
                <a:lnTo>
                  <a:pt x="1223448" y="1138952"/>
                </a:lnTo>
                <a:lnTo>
                  <a:pt x="1220858" y="1149305"/>
                </a:lnTo>
                <a:lnTo>
                  <a:pt x="1213075" y="1149305"/>
                </a:lnTo>
                <a:lnTo>
                  <a:pt x="1210485" y="1146724"/>
                </a:lnTo>
                <a:lnTo>
                  <a:pt x="1205303" y="1144133"/>
                </a:lnTo>
                <a:lnTo>
                  <a:pt x="1202712" y="1138952"/>
                </a:lnTo>
                <a:lnTo>
                  <a:pt x="1197530" y="1136371"/>
                </a:lnTo>
                <a:lnTo>
                  <a:pt x="1194940" y="1133780"/>
                </a:lnTo>
                <a:lnTo>
                  <a:pt x="1192339" y="1128598"/>
                </a:lnTo>
                <a:lnTo>
                  <a:pt x="1194940" y="1123426"/>
                </a:lnTo>
                <a:lnTo>
                  <a:pt x="1194940" y="1113073"/>
                </a:lnTo>
                <a:lnTo>
                  <a:pt x="1197530" y="1107891"/>
                </a:lnTo>
                <a:lnTo>
                  <a:pt x="1194940" y="1102719"/>
                </a:lnTo>
                <a:lnTo>
                  <a:pt x="1192339" y="1100128"/>
                </a:lnTo>
                <a:lnTo>
                  <a:pt x="1187158" y="1097537"/>
                </a:lnTo>
                <a:lnTo>
                  <a:pt x="1181976" y="1097537"/>
                </a:lnTo>
                <a:lnTo>
                  <a:pt x="1174195" y="1094946"/>
                </a:lnTo>
                <a:lnTo>
                  <a:pt x="1163831" y="1094946"/>
                </a:lnTo>
                <a:lnTo>
                  <a:pt x="1156059" y="1089774"/>
                </a:lnTo>
                <a:lnTo>
                  <a:pt x="1135313" y="1102719"/>
                </a:lnTo>
                <a:lnTo>
                  <a:pt x="1132723" y="1102719"/>
                </a:lnTo>
                <a:lnTo>
                  <a:pt x="1130132" y="1100128"/>
                </a:lnTo>
                <a:lnTo>
                  <a:pt x="1117178" y="1100128"/>
                </a:lnTo>
                <a:lnTo>
                  <a:pt x="1111987" y="1097537"/>
                </a:lnTo>
                <a:lnTo>
                  <a:pt x="1109396" y="1092365"/>
                </a:lnTo>
                <a:lnTo>
                  <a:pt x="1106805" y="1089774"/>
                </a:lnTo>
                <a:lnTo>
                  <a:pt x="1099032" y="1089774"/>
                </a:lnTo>
                <a:lnTo>
                  <a:pt x="1099032" y="1082011"/>
                </a:lnTo>
                <a:lnTo>
                  <a:pt x="1093841" y="1079421"/>
                </a:lnTo>
                <a:lnTo>
                  <a:pt x="1091251" y="1071658"/>
                </a:lnTo>
                <a:lnTo>
                  <a:pt x="1099032" y="1063885"/>
                </a:lnTo>
                <a:lnTo>
                  <a:pt x="1099032" y="1061304"/>
                </a:lnTo>
                <a:lnTo>
                  <a:pt x="1096442" y="1058713"/>
                </a:lnTo>
                <a:lnTo>
                  <a:pt x="1083478" y="1058713"/>
                </a:lnTo>
                <a:lnTo>
                  <a:pt x="1078296" y="1053532"/>
                </a:lnTo>
                <a:lnTo>
                  <a:pt x="1065333" y="1056123"/>
                </a:lnTo>
                <a:lnTo>
                  <a:pt x="1052370" y="1040587"/>
                </a:lnTo>
                <a:lnTo>
                  <a:pt x="1049779" y="1040587"/>
                </a:lnTo>
                <a:lnTo>
                  <a:pt x="1047188" y="1043178"/>
                </a:lnTo>
                <a:lnTo>
                  <a:pt x="1042006" y="1045769"/>
                </a:lnTo>
                <a:lnTo>
                  <a:pt x="1039416" y="1048360"/>
                </a:lnTo>
                <a:lnTo>
                  <a:pt x="1039416" y="1053532"/>
                </a:lnTo>
                <a:lnTo>
                  <a:pt x="1036825" y="1058713"/>
                </a:lnTo>
                <a:lnTo>
                  <a:pt x="1036825" y="1061304"/>
                </a:lnTo>
                <a:lnTo>
                  <a:pt x="1029043" y="1061304"/>
                </a:lnTo>
                <a:lnTo>
                  <a:pt x="1026452" y="1063885"/>
                </a:lnTo>
                <a:lnTo>
                  <a:pt x="1023861" y="1061304"/>
                </a:lnTo>
                <a:lnTo>
                  <a:pt x="1016079" y="1061304"/>
                </a:lnTo>
                <a:lnTo>
                  <a:pt x="1021270" y="1066476"/>
                </a:lnTo>
                <a:lnTo>
                  <a:pt x="1021270" y="1071658"/>
                </a:lnTo>
                <a:lnTo>
                  <a:pt x="1013489" y="1071658"/>
                </a:lnTo>
                <a:lnTo>
                  <a:pt x="1010898" y="1069067"/>
                </a:lnTo>
                <a:lnTo>
                  <a:pt x="1005716" y="1061304"/>
                </a:lnTo>
                <a:lnTo>
                  <a:pt x="1003125" y="1061304"/>
                </a:lnTo>
                <a:lnTo>
                  <a:pt x="1003125" y="1069067"/>
                </a:lnTo>
                <a:lnTo>
                  <a:pt x="995343" y="1061304"/>
                </a:lnTo>
                <a:lnTo>
                  <a:pt x="992753" y="1063885"/>
                </a:lnTo>
                <a:lnTo>
                  <a:pt x="990162" y="1069067"/>
                </a:lnTo>
                <a:lnTo>
                  <a:pt x="987571" y="1071658"/>
                </a:lnTo>
                <a:lnTo>
                  <a:pt x="982389" y="1071658"/>
                </a:lnTo>
                <a:lnTo>
                  <a:pt x="972017" y="1061304"/>
                </a:lnTo>
                <a:lnTo>
                  <a:pt x="966835" y="1061304"/>
                </a:lnTo>
                <a:lnTo>
                  <a:pt x="964244" y="1066476"/>
                </a:lnTo>
                <a:lnTo>
                  <a:pt x="964244" y="1074239"/>
                </a:lnTo>
                <a:lnTo>
                  <a:pt x="948690" y="1071658"/>
                </a:lnTo>
                <a:lnTo>
                  <a:pt x="946099" y="1074239"/>
                </a:lnTo>
                <a:lnTo>
                  <a:pt x="946099" y="1092365"/>
                </a:lnTo>
                <a:lnTo>
                  <a:pt x="956463" y="1102719"/>
                </a:lnTo>
                <a:lnTo>
                  <a:pt x="956463" y="1118245"/>
                </a:lnTo>
                <a:lnTo>
                  <a:pt x="938327" y="1118245"/>
                </a:lnTo>
                <a:lnTo>
                  <a:pt x="938327" y="1100128"/>
                </a:lnTo>
                <a:lnTo>
                  <a:pt x="935727" y="1097537"/>
                </a:lnTo>
                <a:lnTo>
                  <a:pt x="930545" y="1097537"/>
                </a:lnTo>
                <a:lnTo>
                  <a:pt x="922773" y="1105310"/>
                </a:lnTo>
                <a:lnTo>
                  <a:pt x="922773" y="1107891"/>
                </a:lnTo>
                <a:lnTo>
                  <a:pt x="904627" y="1107891"/>
                </a:lnTo>
                <a:lnTo>
                  <a:pt x="904627" y="1100128"/>
                </a:lnTo>
                <a:lnTo>
                  <a:pt x="899446" y="1100128"/>
                </a:lnTo>
                <a:lnTo>
                  <a:pt x="894255" y="1087184"/>
                </a:lnTo>
                <a:lnTo>
                  <a:pt x="870928" y="1084593"/>
                </a:lnTo>
                <a:lnTo>
                  <a:pt x="873519" y="1079421"/>
                </a:lnTo>
                <a:lnTo>
                  <a:pt x="873519" y="1076830"/>
                </a:lnTo>
                <a:lnTo>
                  <a:pt x="876109" y="1074239"/>
                </a:lnTo>
                <a:lnTo>
                  <a:pt x="876109" y="1069067"/>
                </a:lnTo>
                <a:lnTo>
                  <a:pt x="870928" y="1063885"/>
                </a:lnTo>
                <a:lnTo>
                  <a:pt x="873519" y="1061304"/>
                </a:lnTo>
                <a:lnTo>
                  <a:pt x="878710" y="1061304"/>
                </a:lnTo>
                <a:lnTo>
                  <a:pt x="881301" y="1058713"/>
                </a:lnTo>
                <a:lnTo>
                  <a:pt x="881301" y="1056123"/>
                </a:lnTo>
                <a:lnTo>
                  <a:pt x="878710" y="1053532"/>
                </a:lnTo>
                <a:lnTo>
                  <a:pt x="873519" y="1050950"/>
                </a:lnTo>
                <a:lnTo>
                  <a:pt x="860565" y="1050950"/>
                </a:lnTo>
                <a:lnTo>
                  <a:pt x="855373" y="1032824"/>
                </a:lnTo>
                <a:lnTo>
                  <a:pt x="845011" y="1025062"/>
                </a:lnTo>
                <a:lnTo>
                  <a:pt x="857965" y="1014708"/>
                </a:lnTo>
                <a:lnTo>
                  <a:pt x="832047" y="1014708"/>
                </a:lnTo>
                <a:lnTo>
                  <a:pt x="829456" y="1017299"/>
                </a:lnTo>
                <a:lnTo>
                  <a:pt x="824275" y="1017299"/>
                </a:lnTo>
                <a:lnTo>
                  <a:pt x="821684" y="1019880"/>
                </a:lnTo>
                <a:lnTo>
                  <a:pt x="816493" y="1022471"/>
                </a:lnTo>
                <a:lnTo>
                  <a:pt x="821684" y="1014708"/>
                </a:lnTo>
                <a:lnTo>
                  <a:pt x="819093" y="1009526"/>
                </a:lnTo>
                <a:lnTo>
                  <a:pt x="811311" y="1001763"/>
                </a:lnTo>
                <a:lnTo>
                  <a:pt x="811311" y="994000"/>
                </a:lnTo>
                <a:lnTo>
                  <a:pt x="816493" y="994000"/>
                </a:lnTo>
                <a:lnTo>
                  <a:pt x="813902" y="981056"/>
                </a:lnTo>
                <a:lnTo>
                  <a:pt x="819093" y="981056"/>
                </a:lnTo>
                <a:lnTo>
                  <a:pt x="821684" y="978465"/>
                </a:lnTo>
                <a:lnTo>
                  <a:pt x="821684" y="962940"/>
                </a:lnTo>
                <a:lnTo>
                  <a:pt x="824275" y="965521"/>
                </a:lnTo>
                <a:lnTo>
                  <a:pt x="829456" y="965521"/>
                </a:lnTo>
                <a:lnTo>
                  <a:pt x="832047" y="962940"/>
                </a:lnTo>
                <a:lnTo>
                  <a:pt x="834637" y="957758"/>
                </a:lnTo>
                <a:lnTo>
                  <a:pt x="834637" y="955167"/>
                </a:lnTo>
                <a:lnTo>
                  <a:pt x="826865" y="947404"/>
                </a:lnTo>
                <a:lnTo>
                  <a:pt x="832047" y="947404"/>
                </a:lnTo>
                <a:lnTo>
                  <a:pt x="834637" y="944813"/>
                </a:lnTo>
                <a:lnTo>
                  <a:pt x="839829" y="944813"/>
                </a:lnTo>
                <a:lnTo>
                  <a:pt x="834637" y="918934"/>
                </a:lnTo>
                <a:lnTo>
                  <a:pt x="829456" y="908580"/>
                </a:lnTo>
                <a:lnTo>
                  <a:pt x="829456" y="895636"/>
                </a:lnTo>
                <a:lnTo>
                  <a:pt x="826865" y="893045"/>
                </a:lnTo>
                <a:lnTo>
                  <a:pt x="811311" y="893045"/>
                </a:lnTo>
                <a:lnTo>
                  <a:pt x="811311" y="890454"/>
                </a:lnTo>
                <a:lnTo>
                  <a:pt x="808720" y="887863"/>
                </a:lnTo>
                <a:lnTo>
                  <a:pt x="800948" y="872338"/>
                </a:lnTo>
                <a:lnTo>
                  <a:pt x="795757" y="869747"/>
                </a:lnTo>
                <a:lnTo>
                  <a:pt x="793166" y="864575"/>
                </a:lnTo>
                <a:lnTo>
                  <a:pt x="790575" y="861984"/>
                </a:lnTo>
                <a:lnTo>
                  <a:pt x="787984" y="861984"/>
                </a:lnTo>
                <a:lnTo>
                  <a:pt x="785393" y="869747"/>
                </a:lnTo>
                <a:lnTo>
                  <a:pt x="782803" y="869747"/>
                </a:lnTo>
                <a:lnTo>
                  <a:pt x="780212" y="867156"/>
                </a:lnTo>
                <a:lnTo>
                  <a:pt x="751694" y="867156"/>
                </a:lnTo>
                <a:lnTo>
                  <a:pt x="751694" y="864575"/>
                </a:lnTo>
                <a:lnTo>
                  <a:pt x="756875" y="859393"/>
                </a:lnTo>
                <a:lnTo>
                  <a:pt x="759466" y="859393"/>
                </a:lnTo>
                <a:lnTo>
                  <a:pt x="751694" y="846449"/>
                </a:lnTo>
                <a:lnTo>
                  <a:pt x="738731" y="846449"/>
                </a:lnTo>
                <a:lnTo>
                  <a:pt x="736139" y="843867"/>
                </a:lnTo>
                <a:lnTo>
                  <a:pt x="738731" y="843867"/>
                </a:lnTo>
                <a:lnTo>
                  <a:pt x="743921" y="838686"/>
                </a:lnTo>
                <a:lnTo>
                  <a:pt x="741331" y="836095"/>
                </a:lnTo>
                <a:lnTo>
                  <a:pt x="725777" y="828332"/>
                </a:lnTo>
                <a:lnTo>
                  <a:pt x="720595" y="833504"/>
                </a:lnTo>
                <a:lnTo>
                  <a:pt x="720595" y="843867"/>
                </a:lnTo>
                <a:lnTo>
                  <a:pt x="712813" y="843867"/>
                </a:lnTo>
                <a:lnTo>
                  <a:pt x="705041" y="838686"/>
                </a:lnTo>
                <a:lnTo>
                  <a:pt x="699849" y="836095"/>
                </a:lnTo>
                <a:lnTo>
                  <a:pt x="692077" y="836095"/>
                </a:lnTo>
                <a:lnTo>
                  <a:pt x="686895" y="841277"/>
                </a:lnTo>
                <a:lnTo>
                  <a:pt x="681714" y="843867"/>
                </a:lnTo>
                <a:lnTo>
                  <a:pt x="671341" y="854221"/>
                </a:lnTo>
                <a:lnTo>
                  <a:pt x="655787" y="854221"/>
                </a:lnTo>
                <a:lnTo>
                  <a:pt x="655787" y="856802"/>
                </a:lnTo>
                <a:lnTo>
                  <a:pt x="658377" y="859393"/>
                </a:lnTo>
                <a:lnTo>
                  <a:pt x="658377" y="869747"/>
                </a:lnTo>
                <a:lnTo>
                  <a:pt x="655787" y="872338"/>
                </a:lnTo>
                <a:lnTo>
                  <a:pt x="642833" y="872338"/>
                </a:lnTo>
                <a:lnTo>
                  <a:pt x="645423" y="877510"/>
                </a:lnTo>
                <a:lnTo>
                  <a:pt x="645423" y="885282"/>
                </a:lnTo>
                <a:lnTo>
                  <a:pt x="640232" y="890454"/>
                </a:lnTo>
                <a:lnTo>
                  <a:pt x="616906" y="890454"/>
                </a:lnTo>
                <a:lnTo>
                  <a:pt x="616906" y="887863"/>
                </a:lnTo>
                <a:lnTo>
                  <a:pt x="614315" y="882691"/>
                </a:lnTo>
                <a:lnTo>
                  <a:pt x="609133" y="877510"/>
                </a:lnTo>
                <a:lnTo>
                  <a:pt x="603952" y="874928"/>
                </a:lnTo>
                <a:lnTo>
                  <a:pt x="598761" y="874928"/>
                </a:lnTo>
                <a:lnTo>
                  <a:pt x="593579" y="877510"/>
                </a:lnTo>
                <a:lnTo>
                  <a:pt x="588397" y="877510"/>
                </a:lnTo>
                <a:lnTo>
                  <a:pt x="583216" y="880100"/>
                </a:lnTo>
                <a:lnTo>
                  <a:pt x="580615" y="882691"/>
                </a:lnTo>
                <a:lnTo>
                  <a:pt x="578025" y="882691"/>
                </a:lnTo>
                <a:lnTo>
                  <a:pt x="578025" y="872338"/>
                </a:lnTo>
                <a:lnTo>
                  <a:pt x="567661" y="872338"/>
                </a:lnTo>
                <a:lnTo>
                  <a:pt x="562470" y="869747"/>
                </a:lnTo>
                <a:lnTo>
                  <a:pt x="557289" y="869747"/>
                </a:lnTo>
                <a:lnTo>
                  <a:pt x="554698" y="874928"/>
                </a:lnTo>
                <a:lnTo>
                  <a:pt x="549516" y="880100"/>
                </a:lnTo>
                <a:lnTo>
                  <a:pt x="546925" y="885282"/>
                </a:lnTo>
                <a:lnTo>
                  <a:pt x="541734" y="893045"/>
                </a:lnTo>
                <a:lnTo>
                  <a:pt x="539144" y="898227"/>
                </a:lnTo>
                <a:lnTo>
                  <a:pt x="536553" y="900808"/>
                </a:lnTo>
                <a:lnTo>
                  <a:pt x="536553" y="903399"/>
                </a:lnTo>
                <a:lnTo>
                  <a:pt x="533962" y="903399"/>
                </a:lnTo>
                <a:lnTo>
                  <a:pt x="531371" y="900808"/>
                </a:lnTo>
                <a:lnTo>
                  <a:pt x="531371" y="880100"/>
                </a:lnTo>
                <a:lnTo>
                  <a:pt x="528781" y="877510"/>
                </a:lnTo>
                <a:lnTo>
                  <a:pt x="523599" y="874928"/>
                </a:lnTo>
                <a:lnTo>
                  <a:pt x="520998" y="874928"/>
                </a:lnTo>
                <a:lnTo>
                  <a:pt x="515817" y="877510"/>
                </a:lnTo>
                <a:lnTo>
                  <a:pt x="508045" y="880100"/>
                </a:lnTo>
                <a:lnTo>
                  <a:pt x="500263" y="887863"/>
                </a:lnTo>
                <a:lnTo>
                  <a:pt x="489899" y="887863"/>
                </a:lnTo>
                <a:lnTo>
                  <a:pt x="479527" y="882691"/>
                </a:lnTo>
                <a:lnTo>
                  <a:pt x="471754" y="880100"/>
                </a:lnTo>
                <a:lnTo>
                  <a:pt x="469163" y="877510"/>
                </a:lnTo>
                <a:lnTo>
                  <a:pt x="463982" y="874928"/>
                </a:lnTo>
                <a:lnTo>
                  <a:pt x="463982" y="877510"/>
                </a:lnTo>
                <a:lnTo>
                  <a:pt x="461382" y="880100"/>
                </a:lnTo>
                <a:lnTo>
                  <a:pt x="453609" y="880100"/>
                </a:lnTo>
                <a:lnTo>
                  <a:pt x="451018" y="877510"/>
                </a:lnTo>
                <a:lnTo>
                  <a:pt x="451018" y="874928"/>
                </a:lnTo>
                <a:lnTo>
                  <a:pt x="445837" y="880100"/>
                </a:lnTo>
                <a:lnTo>
                  <a:pt x="440646" y="880100"/>
                </a:lnTo>
                <a:lnTo>
                  <a:pt x="438055" y="877510"/>
                </a:lnTo>
                <a:lnTo>
                  <a:pt x="438055" y="869747"/>
                </a:lnTo>
                <a:lnTo>
                  <a:pt x="435464" y="869747"/>
                </a:lnTo>
                <a:lnTo>
                  <a:pt x="432873" y="872338"/>
                </a:lnTo>
                <a:lnTo>
                  <a:pt x="427691" y="872338"/>
                </a:lnTo>
                <a:lnTo>
                  <a:pt x="419910" y="869747"/>
                </a:lnTo>
                <a:lnTo>
                  <a:pt x="417319" y="867156"/>
                </a:lnTo>
                <a:lnTo>
                  <a:pt x="414728" y="867156"/>
                </a:lnTo>
                <a:lnTo>
                  <a:pt x="414728" y="864575"/>
                </a:lnTo>
                <a:lnTo>
                  <a:pt x="417319" y="861984"/>
                </a:lnTo>
                <a:lnTo>
                  <a:pt x="417319" y="859393"/>
                </a:lnTo>
                <a:lnTo>
                  <a:pt x="414728" y="856802"/>
                </a:lnTo>
                <a:lnTo>
                  <a:pt x="412137" y="856802"/>
                </a:lnTo>
                <a:lnTo>
                  <a:pt x="406955" y="859393"/>
                </a:lnTo>
                <a:lnTo>
                  <a:pt x="404365" y="861984"/>
                </a:lnTo>
                <a:lnTo>
                  <a:pt x="399174" y="859393"/>
                </a:lnTo>
                <a:lnTo>
                  <a:pt x="386219" y="846449"/>
                </a:lnTo>
                <a:lnTo>
                  <a:pt x="386219" y="838686"/>
                </a:lnTo>
                <a:lnTo>
                  <a:pt x="383620" y="833504"/>
                </a:lnTo>
                <a:lnTo>
                  <a:pt x="381029" y="830923"/>
                </a:lnTo>
                <a:lnTo>
                  <a:pt x="375847" y="830923"/>
                </a:lnTo>
                <a:lnTo>
                  <a:pt x="373256" y="836095"/>
                </a:lnTo>
                <a:lnTo>
                  <a:pt x="370665" y="838686"/>
                </a:lnTo>
                <a:lnTo>
                  <a:pt x="370665" y="841277"/>
                </a:lnTo>
                <a:lnTo>
                  <a:pt x="365484" y="841277"/>
                </a:lnTo>
                <a:lnTo>
                  <a:pt x="365484" y="836095"/>
                </a:lnTo>
                <a:lnTo>
                  <a:pt x="362884" y="833504"/>
                </a:lnTo>
                <a:lnTo>
                  <a:pt x="360293" y="828332"/>
                </a:lnTo>
                <a:lnTo>
                  <a:pt x="357702" y="825741"/>
                </a:lnTo>
                <a:lnTo>
                  <a:pt x="355111" y="820569"/>
                </a:lnTo>
                <a:lnTo>
                  <a:pt x="336966" y="817979"/>
                </a:lnTo>
                <a:lnTo>
                  <a:pt x="329193" y="810216"/>
                </a:lnTo>
                <a:lnTo>
                  <a:pt x="324002" y="807625"/>
                </a:lnTo>
                <a:lnTo>
                  <a:pt x="321412" y="802443"/>
                </a:lnTo>
                <a:lnTo>
                  <a:pt x="316230" y="797271"/>
                </a:lnTo>
                <a:lnTo>
                  <a:pt x="311048" y="794680"/>
                </a:lnTo>
                <a:lnTo>
                  <a:pt x="305867" y="794680"/>
                </a:lnTo>
                <a:lnTo>
                  <a:pt x="300676" y="797271"/>
                </a:lnTo>
                <a:lnTo>
                  <a:pt x="298085" y="799862"/>
                </a:lnTo>
                <a:lnTo>
                  <a:pt x="287721" y="807625"/>
                </a:lnTo>
                <a:lnTo>
                  <a:pt x="269577" y="792089"/>
                </a:lnTo>
                <a:lnTo>
                  <a:pt x="264386" y="792089"/>
                </a:lnTo>
                <a:lnTo>
                  <a:pt x="259204" y="789508"/>
                </a:lnTo>
                <a:lnTo>
                  <a:pt x="259204" y="781736"/>
                </a:lnTo>
                <a:lnTo>
                  <a:pt x="251431" y="784327"/>
                </a:lnTo>
                <a:lnTo>
                  <a:pt x="243650" y="776564"/>
                </a:lnTo>
                <a:lnTo>
                  <a:pt x="241059" y="776564"/>
                </a:lnTo>
                <a:lnTo>
                  <a:pt x="238468" y="773973"/>
                </a:lnTo>
                <a:lnTo>
                  <a:pt x="233286" y="773973"/>
                </a:lnTo>
                <a:lnTo>
                  <a:pt x="228105" y="771382"/>
                </a:lnTo>
                <a:lnTo>
                  <a:pt x="222914" y="766210"/>
                </a:lnTo>
                <a:lnTo>
                  <a:pt x="220323" y="761029"/>
                </a:lnTo>
                <a:lnTo>
                  <a:pt x="207369" y="761029"/>
                </a:lnTo>
                <a:lnTo>
                  <a:pt x="204768" y="758438"/>
                </a:lnTo>
                <a:lnTo>
                  <a:pt x="204768" y="750675"/>
                </a:lnTo>
                <a:lnTo>
                  <a:pt x="207369" y="748084"/>
                </a:lnTo>
                <a:lnTo>
                  <a:pt x="207369" y="742912"/>
                </a:lnTo>
                <a:lnTo>
                  <a:pt x="204768" y="742912"/>
                </a:lnTo>
                <a:lnTo>
                  <a:pt x="199587" y="737730"/>
                </a:lnTo>
                <a:lnTo>
                  <a:pt x="196996" y="732558"/>
                </a:lnTo>
                <a:lnTo>
                  <a:pt x="194405" y="729967"/>
                </a:lnTo>
                <a:lnTo>
                  <a:pt x="194405" y="722204"/>
                </a:lnTo>
                <a:lnTo>
                  <a:pt x="196996" y="722204"/>
                </a:lnTo>
                <a:lnTo>
                  <a:pt x="199587" y="719614"/>
                </a:lnTo>
                <a:lnTo>
                  <a:pt x="204768" y="719614"/>
                </a:lnTo>
                <a:lnTo>
                  <a:pt x="204768" y="727377"/>
                </a:lnTo>
                <a:lnTo>
                  <a:pt x="209960" y="732558"/>
                </a:lnTo>
                <a:lnTo>
                  <a:pt x="215141" y="724786"/>
                </a:lnTo>
                <a:lnTo>
                  <a:pt x="217732" y="724786"/>
                </a:lnTo>
                <a:lnTo>
                  <a:pt x="220323" y="722204"/>
                </a:lnTo>
                <a:lnTo>
                  <a:pt x="225504" y="719614"/>
                </a:lnTo>
                <a:lnTo>
                  <a:pt x="225504" y="714432"/>
                </a:lnTo>
                <a:lnTo>
                  <a:pt x="217732" y="706669"/>
                </a:lnTo>
                <a:lnTo>
                  <a:pt x="215141" y="701497"/>
                </a:lnTo>
                <a:lnTo>
                  <a:pt x="212550" y="698906"/>
                </a:lnTo>
                <a:lnTo>
                  <a:pt x="207369" y="698906"/>
                </a:lnTo>
                <a:lnTo>
                  <a:pt x="196996" y="693725"/>
                </a:lnTo>
                <a:lnTo>
                  <a:pt x="196996" y="683371"/>
                </a:lnTo>
                <a:lnTo>
                  <a:pt x="204768" y="680790"/>
                </a:lnTo>
                <a:lnTo>
                  <a:pt x="196996" y="670427"/>
                </a:lnTo>
                <a:lnTo>
                  <a:pt x="209960" y="670427"/>
                </a:lnTo>
                <a:lnTo>
                  <a:pt x="215141" y="667845"/>
                </a:lnTo>
                <a:lnTo>
                  <a:pt x="217732" y="662664"/>
                </a:lnTo>
                <a:lnTo>
                  <a:pt x="217732" y="652310"/>
                </a:lnTo>
                <a:lnTo>
                  <a:pt x="215141" y="649719"/>
                </a:lnTo>
                <a:lnTo>
                  <a:pt x="215141" y="647138"/>
                </a:lnTo>
                <a:lnTo>
                  <a:pt x="222914" y="647138"/>
                </a:lnTo>
                <a:lnTo>
                  <a:pt x="225504" y="644547"/>
                </a:lnTo>
                <a:lnTo>
                  <a:pt x="225504" y="618658"/>
                </a:lnTo>
                <a:lnTo>
                  <a:pt x="207369" y="618658"/>
                </a:lnTo>
                <a:lnTo>
                  <a:pt x="196996" y="608305"/>
                </a:lnTo>
                <a:lnTo>
                  <a:pt x="189224" y="603133"/>
                </a:lnTo>
                <a:lnTo>
                  <a:pt x="184032" y="603133"/>
                </a:lnTo>
                <a:lnTo>
                  <a:pt x="173669" y="608305"/>
                </a:lnTo>
                <a:lnTo>
                  <a:pt x="165888" y="610895"/>
                </a:lnTo>
                <a:lnTo>
                  <a:pt x="163296" y="616067"/>
                </a:lnTo>
                <a:lnTo>
                  <a:pt x="158115" y="618658"/>
                </a:lnTo>
                <a:lnTo>
                  <a:pt x="124416" y="618658"/>
                </a:lnTo>
                <a:lnTo>
                  <a:pt x="119234" y="616067"/>
                </a:lnTo>
                <a:lnTo>
                  <a:pt x="116643" y="610895"/>
                </a:lnTo>
                <a:lnTo>
                  <a:pt x="114052" y="608305"/>
                </a:lnTo>
                <a:lnTo>
                  <a:pt x="114052" y="605714"/>
                </a:lnTo>
                <a:lnTo>
                  <a:pt x="108871" y="608305"/>
                </a:lnTo>
                <a:lnTo>
                  <a:pt x="93316" y="603133"/>
                </a:lnTo>
                <a:lnTo>
                  <a:pt x="93316" y="592779"/>
                </a:lnTo>
                <a:lnTo>
                  <a:pt x="88135" y="582425"/>
                </a:lnTo>
                <a:lnTo>
                  <a:pt x="82944" y="577244"/>
                </a:lnTo>
                <a:lnTo>
                  <a:pt x="77762" y="574653"/>
                </a:lnTo>
                <a:lnTo>
                  <a:pt x="72580" y="574653"/>
                </a:lnTo>
                <a:lnTo>
                  <a:pt x="69990" y="569481"/>
                </a:lnTo>
                <a:lnTo>
                  <a:pt x="49254" y="569481"/>
                </a:lnTo>
                <a:lnTo>
                  <a:pt x="46654" y="566890"/>
                </a:lnTo>
                <a:lnTo>
                  <a:pt x="41472" y="564299"/>
                </a:lnTo>
                <a:lnTo>
                  <a:pt x="41472" y="559127"/>
                </a:lnTo>
                <a:lnTo>
                  <a:pt x="44062" y="556536"/>
                </a:lnTo>
                <a:lnTo>
                  <a:pt x="57026" y="556536"/>
                </a:lnTo>
                <a:lnTo>
                  <a:pt x="59617" y="553946"/>
                </a:lnTo>
                <a:lnTo>
                  <a:pt x="54436" y="548774"/>
                </a:lnTo>
                <a:lnTo>
                  <a:pt x="51845" y="548774"/>
                </a:lnTo>
                <a:lnTo>
                  <a:pt x="49254" y="546183"/>
                </a:lnTo>
                <a:lnTo>
                  <a:pt x="44062" y="535829"/>
                </a:lnTo>
                <a:lnTo>
                  <a:pt x="44062" y="517703"/>
                </a:lnTo>
                <a:lnTo>
                  <a:pt x="41472" y="515121"/>
                </a:lnTo>
                <a:lnTo>
                  <a:pt x="36290" y="512531"/>
                </a:lnTo>
                <a:lnTo>
                  <a:pt x="33700" y="512531"/>
                </a:lnTo>
                <a:lnTo>
                  <a:pt x="28518" y="509940"/>
                </a:lnTo>
                <a:lnTo>
                  <a:pt x="18145" y="509940"/>
                </a:lnTo>
                <a:lnTo>
                  <a:pt x="15554" y="512531"/>
                </a:lnTo>
                <a:lnTo>
                  <a:pt x="10373" y="512531"/>
                </a:lnTo>
                <a:lnTo>
                  <a:pt x="5182" y="507349"/>
                </a:lnTo>
                <a:lnTo>
                  <a:pt x="5182" y="502177"/>
                </a:lnTo>
                <a:lnTo>
                  <a:pt x="7772" y="496996"/>
                </a:lnTo>
                <a:lnTo>
                  <a:pt x="7772" y="491823"/>
                </a:lnTo>
                <a:lnTo>
                  <a:pt x="0" y="491823"/>
                </a:lnTo>
                <a:lnTo>
                  <a:pt x="0" y="481470"/>
                </a:lnTo>
                <a:lnTo>
                  <a:pt x="7772" y="481470"/>
                </a:lnTo>
                <a:lnTo>
                  <a:pt x="7772" y="476288"/>
                </a:lnTo>
                <a:lnTo>
                  <a:pt x="5182" y="471116"/>
                </a:lnTo>
                <a:lnTo>
                  <a:pt x="0" y="468525"/>
                </a:lnTo>
                <a:lnTo>
                  <a:pt x="0" y="465934"/>
                </a:lnTo>
                <a:lnTo>
                  <a:pt x="2591" y="463344"/>
                </a:lnTo>
                <a:lnTo>
                  <a:pt x="7772" y="460762"/>
                </a:lnTo>
                <a:lnTo>
                  <a:pt x="12964" y="460762"/>
                </a:lnTo>
                <a:lnTo>
                  <a:pt x="15554" y="458171"/>
                </a:lnTo>
                <a:lnTo>
                  <a:pt x="20736" y="455581"/>
                </a:lnTo>
                <a:lnTo>
                  <a:pt x="20736" y="447818"/>
                </a:lnTo>
                <a:lnTo>
                  <a:pt x="31109" y="447818"/>
                </a:lnTo>
                <a:lnTo>
                  <a:pt x="36290" y="442636"/>
                </a:lnTo>
                <a:lnTo>
                  <a:pt x="41472" y="442636"/>
                </a:lnTo>
                <a:lnTo>
                  <a:pt x="44062" y="445227"/>
                </a:lnTo>
                <a:lnTo>
                  <a:pt x="46654" y="450409"/>
                </a:lnTo>
                <a:lnTo>
                  <a:pt x="49254" y="452990"/>
                </a:lnTo>
                <a:lnTo>
                  <a:pt x="54436" y="450409"/>
                </a:lnTo>
                <a:lnTo>
                  <a:pt x="67399" y="452990"/>
                </a:lnTo>
                <a:lnTo>
                  <a:pt x="69990" y="450409"/>
                </a:lnTo>
                <a:lnTo>
                  <a:pt x="69990" y="440055"/>
                </a:lnTo>
                <a:lnTo>
                  <a:pt x="72580" y="434873"/>
                </a:lnTo>
                <a:lnTo>
                  <a:pt x="80353" y="427111"/>
                </a:lnTo>
                <a:lnTo>
                  <a:pt x="93316" y="427111"/>
                </a:lnTo>
                <a:lnTo>
                  <a:pt x="101089" y="429701"/>
                </a:lnTo>
                <a:lnTo>
                  <a:pt x="108871" y="429701"/>
                </a:lnTo>
                <a:lnTo>
                  <a:pt x="111462" y="427111"/>
                </a:lnTo>
                <a:lnTo>
                  <a:pt x="114052" y="421929"/>
                </a:lnTo>
                <a:lnTo>
                  <a:pt x="114052" y="414166"/>
                </a:lnTo>
                <a:lnTo>
                  <a:pt x="116643" y="411575"/>
                </a:lnTo>
                <a:lnTo>
                  <a:pt x="121825" y="408984"/>
                </a:lnTo>
                <a:lnTo>
                  <a:pt x="127006" y="403812"/>
                </a:lnTo>
                <a:lnTo>
                  <a:pt x="147752" y="396049"/>
                </a:lnTo>
                <a:lnTo>
                  <a:pt x="158115" y="396049"/>
                </a:lnTo>
                <a:lnTo>
                  <a:pt x="160706" y="393459"/>
                </a:lnTo>
                <a:lnTo>
                  <a:pt x="160706" y="388277"/>
                </a:lnTo>
                <a:lnTo>
                  <a:pt x="152934" y="380514"/>
                </a:lnTo>
                <a:lnTo>
                  <a:pt x="152934" y="375342"/>
                </a:lnTo>
                <a:lnTo>
                  <a:pt x="150343" y="372751"/>
                </a:lnTo>
                <a:lnTo>
                  <a:pt x="150343" y="367570"/>
                </a:lnTo>
                <a:lnTo>
                  <a:pt x="160706" y="367570"/>
                </a:lnTo>
                <a:lnTo>
                  <a:pt x="152934" y="359807"/>
                </a:lnTo>
                <a:lnTo>
                  <a:pt x="152934" y="357216"/>
                </a:lnTo>
                <a:lnTo>
                  <a:pt x="155524" y="354625"/>
                </a:lnTo>
                <a:lnTo>
                  <a:pt x="163296" y="354625"/>
                </a:lnTo>
                <a:lnTo>
                  <a:pt x="163296" y="349453"/>
                </a:lnTo>
                <a:lnTo>
                  <a:pt x="158115" y="346862"/>
                </a:lnTo>
                <a:lnTo>
                  <a:pt x="155524" y="341690"/>
                </a:lnTo>
                <a:lnTo>
                  <a:pt x="137379" y="323564"/>
                </a:lnTo>
                <a:lnTo>
                  <a:pt x="132198" y="313211"/>
                </a:lnTo>
                <a:lnTo>
                  <a:pt x="132198" y="300266"/>
                </a:lnTo>
                <a:lnTo>
                  <a:pt x="124416" y="300266"/>
                </a:lnTo>
                <a:lnTo>
                  <a:pt x="119234" y="297685"/>
                </a:lnTo>
                <a:lnTo>
                  <a:pt x="116643" y="295094"/>
                </a:lnTo>
                <a:lnTo>
                  <a:pt x="116643" y="292503"/>
                </a:lnTo>
                <a:lnTo>
                  <a:pt x="119234" y="289913"/>
                </a:lnTo>
                <a:lnTo>
                  <a:pt x="124416" y="287331"/>
                </a:lnTo>
                <a:lnTo>
                  <a:pt x="129607" y="287331"/>
                </a:lnTo>
                <a:lnTo>
                  <a:pt x="134788" y="284740"/>
                </a:lnTo>
                <a:lnTo>
                  <a:pt x="139970" y="284740"/>
                </a:lnTo>
                <a:lnTo>
                  <a:pt x="155524" y="276978"/>
                </a:lnTo>
                <a:lnTo>
                  <a:pt x="160706" y="276978"/>
                </a:lnTo>
                <a:lnTo>
                  <a:pt x="163296" y="279559"/>
                </a:lnTo>
                <a:lnTo>
                  <a:pt x="165888" y="284740"/>
                </a:lnTo>
                <a:lnTo>
                  <a:pt x="168488" y="287331"/>
                </a:lnTo>
                <a:lnTo>
                  <a:pt x="176260" y="282150"/>
                </a:lnTo>
                <a:lnTo>
                  <a:pt x="181442" y="287331"/>
                </a:lnTo>
                <a:lnTo>
                  <a:pt x="184032" y="287331"/>
                </a:lnTo>
                <a:lnTo>
                  <a:pt x="186633" y="284740"/>
                </a:lnTo>
                <a:lnTo>
                  <a:pt x="186633" y="279559"/>
                </a:lnTo>
                <a:lnTo>
                  <a:pt x="184032" y="276978"/>
                </a:lnTo>
                <a:lnTo>
                  <a:pt x="181442" y="276978"/>
                </a:lnTo>
                <a:lnTo>
                  <a:pt x="178851" y="274387"/>
                </a:lnTo>
                <a:lnTo>
                  <a:pt x="176260" y="274387"/>
                </a:lnTo>
                <a:lnTo>
                  <a:pt x="176260" y="214846"/>
                </a:lnTo>
                <a:lnTo>
                  <a:pt x="181442" y="214846"/>
                </a:lnTo>
                <a:lnTo>
                  <a:pt x="186633" y="217437"/>
                </a:lnTo>
                <a:lnTo>
                  <a:pt x="191814" y="217437"/>
                </a:lnTo>
                <a:lnTo>
                  <a:pt x="202178" y="222618"/>
                </a:lnTo>
                <a:lnTo>
                  <a:pt x="222914" y="222618"/>
                </a:lnTo>
                <a:lnTo>
                  <a:pt x="228105" y="227790"/>
                </a:lnTo>
                <a:lnTo>
                  <a:pt x="235877" y="220028"/>
                </a:lnTo>
                <a:lnTo>
                  <a:pt x="243650" y="220028"/>
                </a:lnTo>
                <a:lnTo>
                  <a:pt x="246250" y="217437"/>
                </a:lnTo>
                <a:lnTo>
                  <a:pt x="246250" y="209674"/>
                </a:lnTo>
                <a:lnTo>
                  <a:pt x="241059" y="199320"/>
                </a:lnTo>
                <a:lnTo>
                  <a:pt x="235877" y="194138"/>
                </a:lnTo>
                <a:lnTo>
                  <a:pt x="230695" y="183785"/>
                </a:lnTo>
                <a:lnTo>
                  <a:pt x="230695" y="176022"/>
                </a:lnTo>
                <a:lnTo>
                  <a:pt x="235877" y="170840"/>
                </a:lnTo>
                <a:lnTo>
                  <a:pt x="254022" y="170840"/>
                </a:lnTo>
                <a:lnTo>
                  <a:pt x="256613" y="168259"/>
                </a:lnTo>
                <a:lnTo>
                  <a:pt x="256613" y="163078"/>
                </a:lnTo>
                <a:lnTo>
                  <a:pt x="248841" y="155315"/>
                </a:lnTo>
                <a:lnTo>
                  <a:pt x="248841" y="152724"/>
                </a:lnTo>
                <a:lnTo>
                  <a:pt x="251431" y="150133"/>
                </a:lnTo>
                <a:lnTo>
                  <a:pt x="259204" y="150133"/>
                </a:lnTo>
                <a:lnTo>
                  <a:pt x="264386" y="152724"/>
                </a:lnTo>
                <a:lnTo>
                  <a:pt x="279940" y="152724"/>
                </a:lnTo>
                <a:lnTo>
                  <a:pt x="282530" y="155315"/>
                </a:lnTo>
                <a:lnTo>
                  <a:pt x="282530" y="160487"/>
                </a:lnTo>
                <a:lnTo>
                  <a:pt x="279940" y="163078"/>
                </a:lnTo>
                <a:lnTo>
                  <a:pt x="290313" y="163078"/>
                </a:lnTo>
                <a:lnTo>
                  <a:pt x="290313" y="170840"/>
                </a:lnTo>
                <a:lnTo>
                  <a:pt x="295494" y="173431"/>
                </a:lnTo>
                <a:lnTo>
                  <a:pt x="300676" y="173431"/>
                </a:lnTo>
                <a:lnTo>
                  <a:pt x="305867" y="176022"/>
                </a:lnTo>
                <a:lnTo>
                  <a:pt x="311048" y="176022"/>
                </a:lnTo>
                <a:lnTo>
                  <a:pt x="313639" y="181194"/>
                </a:lnTo>
                <a:lnTo>
                  <a:pt x="324002" y="191548"/>
                </a:lnTo>
                <a:lnTo>
                  <a:pt x="339557" y="186376"/>
                </a:lnTo>
                <a:lnTo>
                  <a:pt x="347339" y="191548"/>
                </a:lnTo>
                <a:lnTo>
                  <a:pt x="349929" y="194138"/>
                </a:lnTo>
                <a:lnTo>
                  <a:pt x="355111" y="194138"/>
                </a:lnTo>
                <a:lnTo>
                  <a:pt x="360293" y="196729"/>
                </a:lnTo>
                <a:lnTo>
                  <a:pt x="368075" y="199320"/>
                </a:lnTo>
                <a:lnTo>
                  <a:pt x="375847" y="207083"/>
                </a:lnTo>
                <a:lnTo>
                  <a:pt x="378438" y="212265"/>
                </a:lnTo>
                <a:lnTo>
                  <a:pt x="383620" y="220028"/>
                </a:lnTo>
                <a:lnTo>
                  <a:pt x="393992" y="227790"/>
                </a:lnTo>
                <a:lnTo>
                  <a:pt x="399174" y="232972"/>
                </a:lnTo>
                <a:lnTo>
                  <a:pt x="401764" y="238144"/>
                </a:lnTo>
                <a:lnTo>
                  <a:pt x="401764" y="243326"/>
                </a:lnTo>
                <a:lnTo>
                  <a:pt x="404365" y="245907"/>
                </a:lnTo>
                <a:lnTo>
                  <a:pt x="406955" y="251088"/>
                </a:lnTo>
                <a:lnTo>
                  <a:pt x="409547" y="253679"/>
                </a:lnTo>
                <a:lnTo>
                  <a:pt x="409547" y="256270"/>
                </a:lnTo>
                <a:lnTo>
                  <a:pt x="404365" y="261442"/>
                </a:lnTo>
                <a:lnTo>
                  <a:pt x="404365" y="266624"/>
                </a:lnTo>
                <a:lnTo>
                  <a:pt x="406955" y="274387"/>
                </a:lnTo>
                <a:lnTo>
                  <a:pt x="409547" y="279559"/>
                </a:lnTo>
                <a:lnTo>
                  <a:pt x="412137" y="282150"/>
                </a:lnTo>
                <a:lnTo>
                  <a:pt x="417319" y="284740"/>
                </a:lnTo>
                <a:lnTo>
                  <a:pt x="422500" y="284740"/>
                </a:lnTo>
                <a:lnTo>
                  <a:pt x="427691" y="287331"/>
                </a:lnTo>
                <a:lnTo>
                  <a:pt x="430282" y="287331"/>
                </a:lnTo>
                <a:lnTo>
                  <a:pt x="438055" y="289913"/>
                </a:lnTo>
                <a:lnTo>
                  <a:pt x="448427" y="292503"/>
                </a:lnTo>
                <a:lnTo>
                  <a:pt x="489899" y="292503"/>
                </a:lnTo>
                <a:lnTo>
                  <a:pt x="492490" y="295094"/>
                </a:lnTo>
                <a:lnTo>
                  <a:pt x="495081" y="295094"/>
                </a:lnTo>
                <a:lnTo>
                  <a:pt x="500263" y="297685"/>
                </a:lnTo>
                <a:lnTo>
                  <a:pt x="502863" y="297685"/>
                </a:lnTo>
                <a:lnTo>
                  <a:pt x="508045" y="300266"/>
                </a:lnTo>
                <a:lnTo>
                  <a:pt x="510635" y="305448"/>
                </a:lnTo>
                <a:lnTo>
                  <a:pt x="513226" y="305448"/>
                </a:lnTo>
                <a:lnTo>
                  <a:pt x="515817" y="308038"/>
                </a:lnTo>
                <a:lnTo>
                  <a:pt x="518408" y="308038"/>
                </a:lnTo>
                <a:lnTo>
                  <a:pt x="528781" y="313211"/>
                </a:lnTo>
                <a:lnTo>
                  <a:pt x="533962" y="313211"/>
                </a:lnTo>
                <a:lnTo>
                  <a:pt x="536553" y="315801"/>
                </a:lnTo>
                <a:lnTo>
                  <a:pt x="552107" y="315801"/>
                </a:lnTo>
                <a:lnTo>
                  <a:pt x="557289" y="326155"/>
                </a:lnTo>
                <a:lnTo>
                  <a:pt x="575434" y="344272"/>
                </a:lnTo>
                <a:lnTo>
                  <a:pt x="578025" y="349453"/>
                </a:lnTo>
                <a:lnTo>
                  <a:pt x="590988" y="362398"/>
                </a:lnTo>
                <a:lnTo>
                  <a:pt x="596170" y="364988"/>
                </a:lnTo>
                <a:lnTo>
                  <a:pt x="598761" y="370161"/>
                </a:lnTo>
                <a:lnTo>
                  <a:pt x="603952" y="372751"/>
                </a:lnTo>
                <a:lnTo>
                  <a:pt x="629869" y="370161"/>
                </a:lnTo>
                <a:lnTo>
                  <a:pt x="653196" y="372751"/>
                </a:lnTo>
                <a:lnTo>
                  <a:pt x="673932" y="372751"/>
                </a:lnTo>
                <a:lnTo>
                  <a:pt x="689486" y="375342"/>
                </a:lnTo>
                <a:lnTo>
                  <a:pt x="692077" y="372751"/>
                </a:lnTo>
                <a:lnTo>
                  <a:pt x="697259" y="370161"/>
                </a:lnTo>
                <a:lnTo>
                  <a:pt x="699849" y="367570"/>
                </a:lnTo>
                <a:lnTo>
                  <a:pt x="705041" y="367570"/>
                </a:lnTo>
                <a:lnTo>
                  <a:pt x="710222" y="370161"/>
                </a:lnTo>
                <a:lnTo>
                  <a:pt x="712813" y="370161"/>
                </a:lnTo>
                <a:lnTo>
                  <a:pt x="715403" y="372751"/>
                </a:lnTo>
                <a:lnTo>
                  <a:pt x="738731" y="372751"/>
                </a:lnTo>
                <a:lnTo>
                  <a:pt x="746513" y="375342"/>
                </a:lnTo>
                <a:lnTo>
                  <a:pt x="751694" y="375342"/>
                </a:lnTo>
                <a:lnTo>
                  <a:pt x="759466" y="383105"/>
                </a:lnTo>
                <a:lnTo>
                  <a:pt x="762067" y="388277"/>
                </a:lnTo>
                <a:lnTo>
                  <a:pt x="767249" y="390868"/>
                </a:lnTo>
                <a:lnTo>
                  <a:pt x="777611" y="393459"/>
                </a:lnTo>
                <a:lnTo>
                  <a:pt x="798347" y="393459"/>
                </a:lnTo>
                <a:lnTo>
                  <a:pt x="806129" y="396049"/>
                </a:lnTo>
                <a:lnTo>
                  <a:pt x="816493" y="401221"/>
                </a:lnTo>
                <a:lnTo>
                  <a:pt x="819093" y="403812"/>
                </a:lnTo>
                <a:lnTo>
                  <a:pt x="824275" y="403812"/>
                </a:lnTo>
                <a:lnTo>
                  <a:pt x="826865" y="401221"/>
                </a:lnTo>
                <a:lnTo>
                  <a:pt x="832047" y="401221"/>
                </a:lnTo>
                <a:lnTo>
                  <a:pt x="837229" y="398631"/>
                </a:lnTo>
                <a:lnTo>
                  <a:pt x="842420" y="398631"/>
                </a:lnTo>
                <a:lnTo>
                  <a:pt x="842420" y="401221"/>
                </a:lnTo>
                <a:lnTo>
                  <a:pt x="845011" y="406403"/>
                </a:lnTo>
                <a:lnTo>
                  <a:pt x="847601" y="406403"/>
                </a:lnTo>
                <a:lnTo>
                  <a:pt x="850192" y="408984"/>
                </a:lnTo>
                <a:lnTo>
                  <a:pt x="857965" y="408984"/>
                </a:lnTo>
                <a:lnTo>
                  <a:pt x="860565" y="406403"/>
                </a:lnTo>
                <a:lnTo>
                  <a:pt x="868337" y="401221"/>
                </a:lnTo>
                <a:lnTo>
                  <a:pt x="894255" y="385696"/>
                </a:lnTo>
                <a:lnTo>
                  <a:pt x="902037" y="380514"/>
                </a:lnTo>
                <a:lnTo>
                  <a:pt x="969426" y="380514"/>
                </a:lnTo>
                <a:lnTo>
                  <a:pt x="977208" y="370161"/>
                </a:lnTo>
                <a:lnTo>
                  <a:pt x="987571" y="370161"/>
                </a:lnTo>
                <a:lnTo>
                  <a:pt x="992753" y="367570"/>
                </a:lnTo>
                <a:lnTo>
                  <a:pt x="997944" y="357216"/>
                </a:lnTo>
                <a:lnTo>
                  <a:pt x="997944" y="354625"/>
                </a:lnTo>
                <a:lnTo>
                  <a:pt x="1000535" y="349453"/>
                </a:lnTo>
                <a:lnTo>
                  <a:pt x="1000535" y="346862"/>
                </a:lnTo>
                <a:lnTo>
                  <a:pt x="1010898" y="346862"/>
                </a:lnTo>
                <a:lnTo>
                  <a:pt x="1016079" y="341690"/>
                </a:lnTo>
                <a:lnTo>
                  <a:pt x="1018680" y="336509"/>
                </a:lnTo>
                <a:lnTo>
                  <a:pt x="1021270" y="333918"/>
                </a:lnTo>
                <a:lnTo>
                  <a:pt x="1021270" y="331337"/>
                </a:lnTo>
                <a:lnTo>
                  <a:pt x="1016079" y="328746"/>
                </a:lnTo>
                <a:lnTo>
                  <a:pt x="1008307" y="320983"/>
                </a:lnTo>
                <a:lnTo>
                  <a:pt x="1003125" y="318392"/>
                </a:lnTo>
                <a:lnTo>
                  <a:pt x="995343" y="310629"/>
                </a:lnTo>
                <a:lnTo>
                  <a:pt x="992753" y="305448"/>
                </a:lnTo>
                <a:lnTo>
                  <a:pt x="992753" y="300266"/>
                </a:lnTo>
                <a:lnTo>
                  <a:pt x="995343" y="295094"/>
                </a:lnTo>
                <a:lnTo>
                  <a:pt x="995343" y="289913"/>
                </a:lnTo>
                <a:lnTo>
                  <a:pt x="1000535" y="287331"/>
                </a:lnTo>
                <a:lnTo>
                  <a:pt x="1010898" y="287331"/>
                </a:lnTo>
                <a:lnTo>
                  <a:pt x="1013489" y="289913"/>
                </a:lnTo>
                <a:lnTo>
                  <a:pt x="1016079" y="289913"/>
                </a:lnTo>
                <a:lnTo>
                  <a:pt x="1018680" y="292503"/>
                </a:lnTo>
                <a:lnTo>
                  <a:pt x="1023861" y="295094"/>
                </a:lnTo>
                <a:lnTo>
                  <a:pt x="1026452" y="297685"/>
                </a:lnTo>
                <a:lnTo>
                  <a:pt x="1031634" y="300266"/>
                </a:lnTo>
                <a:lnTo>
                  <a:pt x="1042006" y="300266"/>
                </a:lnTo>
                <a:lnTo>
                  <a:pt x="1047188" y="297685"/>
                </a:lnTo>
                <a:lnTo>
                  <a:pt x="1054961" y="297685"/>
                </a:lnTo>
                <a:lnTo>
                  <a:pt x="1060152" y="295094"/>
                </a:lnTo>
                <a:lnTo>
                  <a:pt x="1062742" y="289913"/>
                </a:lnTo>
                <a:lnTo>
                  <a:pt x="1065333" y="287331"/>
                </a:lnTo>
                <a:lnTo>
                  <a:pt x="1065333" y="276978"/>
                </a:lnTo>
                <a:lnTo>
                  <a:pt x="1096442" y="276978"/>
                </a:lnTo>
                <a:lnTo>
                  <a:pt x="1106805" y="266624"/>
                </a:lnTo>
                <a:lnTo>
                  <a:pt x="1101624" y="261442"/>
                </a:lnTo>
                <a:lnTo>
                  <a:pt x="1099032" y="256270"/>
                </a:lnTo>
                <a:lnTo>
                  <a:pt x="1101624" y="253679"/>
                </a:lnTo>
                <a:lnTo>
                  <a:pt x="1117178" y="245907"/>
                </a:lnTo>
                <a:lnTo>
                  <a:pt x="1122359" y="245907"/>
                </a:lnTo>
                <a:lnTo>
                  <a:pt x="1122359" y="238144"/>
                </a:lnTo>
                <a:lnTo>
                  <a:pt x="1135313" y="240735"/>
                </a:lnTo>
                <a:lnTo>
                  <a:pt x="1143095" y="232972"/>
                </a:lnTo>
                <a:lnTo>
                  <a:pt x="1145686" y="232972"/>
                </a:lnTo>
                <a:lnTo>
                  <a:pt x="1148277" y="230381"/>
                </a:lnTo>
                <a:lnTo>
                  <a:pt x="1161240" y="230381"/>
                </a:lnTo>
                <a:lnTo>
                  <a:pt x="1166422" y="232972"/>
                </a:lnTo>
                <a:lnTo>
                  <a:pt x="1169013" y="235553"/>
                </a:lnTo>
                <a:lnTo>
                  <a:pt x="1184567" y="235553"/>
                </a:lnTo>
                <a:lnTo>
                  <a:pt x="1187158" y="232972"/>
                </a:lnTo>
                <a:lnTo>
                  <a:pt x="1187158" y="230381"/>
                </a:lnTo>
                <a:lnTo>
                  <a:pt x="1176795" y="220028"/>
                </a:lnTo>
                <a:lnTo>
                  <a:pt x="1174195" y="214846"/>
                </a:lnTo>
                <a:lnTo>
                  <a:pt x="1169013" y="214846"/>
                </a:lnTo>
                <a:lnTo>
                  <a:pt x="1158650" y="209674"/>
                </a:lnTo>
                <a:lnTo>
                  <a:pt x="1153459" y="204492"/>
                </a:lnTo>
                <a:lnTo>
                  <a:pt x="1148277" y="201911"/>
                </a:lnTo>
                <a:lnTo>
                  <a:pt x="1145686" y="199320"/>
                </a:lnTo>
                <a:lnTo>
                  <a:pt x="1137914" y="199320"/>
                </a:lnTo>
                <a:lnTo>
                  <a:pt x="1132723" y="196729"/>
                </a:lnTo>
                <a:lnTo>
                  <a:pt x="1130132" y="194138"/>
                </a:lnTo>
                <a:lnTo>
                  <a:pt x="1130132" y="188966"/>
                </a:lnTo>
                <a:lnTo>
                  <a:pt x="1101624" y="188966"/>
                </a:lnTo>
                <a:lnTo>
                  <a:pt x="1101624" y="199320"/>
                </a:lnTo>
                <a:lnTo>
                  <a:pt x="1099032" y="201911"/>
                </a:lnTo>
                <a:lnTo>
                  <a:pt x="1096442" y="201911"/>
                </a:lnTo>
                <a:lnTo>
                  <a:pt x="1091251" y="199320"/>
                </a:lnTo>
                <a:lnTo>
                  <a:pt x="1086069" y="194138"/>
                </a:lnTo>
                <a:lnTo>
                  <a:pt x="1062742" y="194138"/>
                </a:lnTo>
                <a:lnTo>
                  <a:pt x="1060152" y="196729"/>
                </a:lnTo>
                <a:lnTo>
                  <a:pt x="1062742" y="196729"/>
                </a:lnTo>
                <a:lnTo>
                  <a:pt x="1062742" y="199320"/>
                </a:lnTo>
                <a:lnTo>
                  <a:pt x="1054961" y="199320"/>
                </a:lnTo>
                <a:lnTo>
                  <a:pt x="1052370" y="196729"/>
                </a:lnTo>
                <a:lnTo>
                  <a:pt x="1047188" y="194138"/>
                </a:lnTo>
                <a:lnTo>
                  <a:pt x="1044597" y="188966"/>
                </a:lnTo>
                <a:lnTo>
                  <a:pt x="1044597" y="181194"/>
                </a:lnTo>
                <a:lnTo>
                  <a:pt x="1047188" y="181194"/>
                </a:lnTo>
                <a:lnTo>
                  <a:pt x="1044597" y="176022"/>
                </a:lnTo>
                <a:lnTo>
                  <a:pt x="1042006" y="165668"/>
                </a:lnTo>
                <a:lnTo>
                  <a:pt x="1039416" y="160487"/>
                </a:lnTo>
                <a:lnTo>
                  <a:pt x="1039416" y="124254"/>
                </a:lnTo>
                <a:lnTo>
                  <a:pt x="1054961" y="134607"/>
                </a:lnTo>
                <a:lnTo>
                  <a:pt x="1070515" y="134607"/>
                </a:lnTo>
                <a:lnTo>
                  <a:pt x="1073105" y="137189"/>
                </a:lnTo>
                <a:lnTo>
                  <a:pt x="1078296" y="137189"/>
                </a:lnTo>
                <a:lnTo>
                  <a:pt x="1086069" y="129426"/>
                </a:lnTo>
                <a:lnTo>
                  <a:pt x="1086069" y="124254"/>
                </a:lnTo>
                <a:lnTo>
                  <a:pt x="1096442" y="124254"/>
                </a:lnTo>
                <a:lnTo>
                  <a:pt x="1101624" y="121663"/>
                </a:lnTo>
                <a:lnTo>
                  <a:pt x="1104214" y="119072"/>
                </a:lnTo>
                <a:lnTo>
                  <a:pt x="1104214" y="113900"/>
                </a:lnTo>
                <a:lnTo>
                  <a:pt x="1099032" y="113900"/>
                </a:lnTo>
                <a:lnTo>
                  <a:pt x="1096442" y="111309"/>
                </a:lnTo>
                <a:lnTo>
                  <a:pt x="1093841" y="93183"/>
                </a:lnTo>
                <a:lnTo>
                  <a:pt x="1093841" y="62122"/>
                </a:lnTo>
                <a:lnTo>
                  <a:pt x="1101624" y="54359"/>
                </a:lnTo>
                <a:lnTo>
                  <a:pt x="1101624" y="49187"/>
                </a:lnTo>
                <a:lnTo>
                  <a:pt x="1099032" y="46596"/>
                </a:lnTo>
                <a:lnTo>
                  <a:pt x="1093841" y="44005"/>
                </a:lnTo>
                <a:lnTo>
                  <a:pt x="1088660" y="38824"/>
                </a:lnTo>
                <a:lnTo>
                  <a:pt x="1083478" y="38824"/>
                </a:lnTo>
                <a:lnTo>
                  <a:pt x="1080888" y="36243"/>
                </a:lnTo>
                <a:lnTo>
                  <a:pt x="1075697" y="36243"/>
                </a:lnTo>
                <a:lnTo>
                  <a:pt x="1067924" y="33652"/>
                </a:lnTo>
                <a:lnTo>
                  <a:pt x="1065333" y="33652"/>
                </a:lnTo>
                <a:lnTo>
                  <a:pt x="1065333" y="28470"/>
                </a:lnTo>
                <a:lnTo>
                  <a:pt x="1067924" y="28470"/>
                </a:lnTo>
                <a:lnTo>
                  <a:pt x="1086069" y="10354"/>
                </a:lnTo>
                <a:lnTo>
                  <a:pt x="1101624" y="7763"/>
                </a:lnTo>
                <a:lnTo>
                  <a:pt x="1104214" y="2591"/>
                </a:lnTo>
                <a:lnTo>
                  <a:pt x="1122359" y="5182"/>
                </a:lnTo>
                <a:close/>
              </a:path>
            </a:pathLst>
          </a:custGeom>
          <a:solidFill>
            <a:schemeClr val="bg1">
              <a:lumMod val="85000"/>
            </a:schemeClr>
          </a:solidFill>
          <a:ln w="3175">
            <a:solidFill>
              <a:schemeClr val="bg1"/>
            </a:solidFill>
            <a:round/>
            <a:headEnd/>
            <a:tailEnd/>
          </a:ln>
        </p:spPr>
        <p:txBody>
          <a:bodyPr/>
          <a:lstStyle/>
          <a:p>
            <a:pPr>
              <a:spcBef>
                <a:spcPct val="0"/>
              </a:spcBef>
            </a:pPr>
            <a:endParaRPr lang="en-GB" sz="1600" dirty="0">
              <a:latin typeface="BMWGroupTN Condensed" pitchFamily="50" charset="0"/>
              <a:cs typeface="Calibri" pitchFamily="34" charset="0"/>
            </a:endParaRPr>
          </a:p>
        </p:txBody>
      </p:sp>
      <p:sp>
        <p:nvSpPr>
          <p:cNvPr id="52" name="Chile" descr="© INSCALE GmbH, 05.05.2010&#10;http://www.presentationload.com/">
            <a:extLst>
              <a:ext uri="{FF2B5EF4-FFF2-40B4-BE49-F238E27FC236}">
                <a16:creationId xmlns:a16="http://schemas.microsoft.com/office/drawing/2014/main" id="{AA69B21D-79DB-4E6F-AB59-029DC293BEAC}"/>
              </a:ext>
            </a:extLst>
          </p:cNvPr>
          <p:cNvSpPr>
            <a:spLocks noEditPoints="1"/>
          </p:cNvSpPr>
          <p:nvPr/>
        </p:nvSpPr>
        <p:spPr bwMode="gray">
          <a:xfrm>
            <a:off x="3584125" y="4813148"/>
            <a:ext cx="499045" cy="1308252"/>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8" name="Central African Republic" descr="© INSCALE GmbH, 05.05.2010&#10;http://www.presentationload.com/">
            <a:extLst>
              <a:ext uri="{FF2B5EF4-FFF2-40B4-BE49-F238E27FC236}">
                <a16:creationId xmlns:a16="http://schemas.microsoft.com/office/drawing/2014/main" id="{582437FF-CB78-4B56-9ACC-90FAC8D39A9B}"/>
              </a:ext>
            </a:extLst>
          </p:cNvPr>
          <p:cNvSpPr>
            <a:spLocks/>
          </p:cNvSpPr>
          <p:nvPr/>
        </p:nvSpPr>
        <p:spPr bwMode="gray">
          <a:xfrm>
            <a:off x="6154292" y="3818331"/>
            <a:ext cx="395148" cy="301512"/>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79" name="Cameroon" descr="© INSCALE GmbH, 05.05.2010&#10;http://www.presentationload.com/">
            <a:extLst>
              <a:ext uri="{FF2B5EF4-FFF2-40B4-BE49-F238E27FC236}">
                <a16:creationId xmlns:a16="http://schemas.microsoft.com/office/drawing/2014/main" id="{10B3A424-54B4-41BD-87BF-E28156565C5E}"/>
              </a:ext>
            </a:extLst>
          </p:cNvPr>
          <p:cNvSpPr>
            <a:spLocks/>
          </p:cNvSpPr>
          <p:nvPr/>
        </p:nvSpPr>
        <p:spPr bwMode="gray">
          <a:xfrm>
            <a:off x="5975454" y="3741677"/>
            <a:ext cx="235045" cy="400312"/>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0" name="Cambodia" descr="© INSCALE GmbH, 05.05.2010&#10;http://www.presentationload.com/">
            <a:extLst>
              <a:ext uri="{FF2B5EF4-FFF2-40B4-BE49-F238E27FC236}">
                <a16:creationId xmlns:a16="http://schemas.microsoft.com/office/drawing/2014/main" id="{7D4CAF9B-EE02-4164-B8F9-AE7AD43200D5}"/>
              </a:ext>
            </a:extLst>
          </p:cNvPr>
          <p:cNvSpPr>
            <a:spLocks/>
          </p:cNvSpPr>
          <p:nvPr/>
        </p:nvSpPr>
        <p:spPr bwMode="gray">
          <a:xfrm>
            <a:off x="8838576" y="3693980"/>
            <a:ext cx="163510" cy="144794"/>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53" name="Canada" descr="© INSCALE GmbH, 05.05.2010&#10;http://www.presentationload.com/">
            <a:extLst>
              <a:ext uri="{FF2B5EF4-FFF2-40B4-BE49-F238E27FC236}">
                <a16:creationId xmlns:a16="http://schemas.microsoft.com/office/drawing/2014/main" id="{A54087E4-BEEE-4EC4-89AE-B87506624AE0}"/>
              </a:ext>
            </a:extLst>
          </p:cNvPr>
          <p:cNvSpPr>
            <a:spLocks noEditPoints="1"/>
          </p:cNvSpPr>
          <p:nvPr/>
        </p:nvSpPr>
        <p:spPr bwMode="gray">
          <a:xfrm>
            <a:off x="2301596" y="1494820"/>
            <a:ext cx="2406658" cy="1245225"/>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1" name="Burundi" descr="© INSCALE GmbH, 05.05.2010&#10;http://www.presentationload.com/">
            <a:extLst>
              <a:ext uri="{FF2B5EF4-FFF2-40B4-BE49-F238E27FC236}">
                <a16:creationId xmlns:a16="http://schemas.microsoft.com/office/drawing/2014/main" id="{0350CF20-6940-4A23-9022-14C1D7D1C1C4}"/>
              </a:ext>
            </a:extLst>
          </p:cNvPr>
          <p:cNvSpPr>
            <a:spLocks/>
          </p:cNvSpPr>
          <p:nvPr/>
        </p:nvSpPr>
        <p:spPr bwMode="gray">
          <a:xfrm>
            <a:off x="6602241" y="4285076"/>
            <a:ext cx="57910" cy="71545"/>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2" name="Burkina Faso" descr="© INSCALE GmbH, 05.05.2010&#10;http://www.presentationload.com/">
            <a:extLst>
              <a:ext uri="{FF2B5EF4-FFF2-40B4-BE49-F238E27FC236}">
                <a16:creationId xmlns:a16="http://schemas.microsoft.com/office/drawing/2014/main" id="{C242710F-5F6A-4008-A756-74643CD070EF}"/>
              </a:ext>
            </a:extLst>
          </p:cNvPr>
          <p:cNvSpPr>
            <a:spLocks/>
          </p:cNvSpPr>
          <p:nvPr/>
        </p:nvSpPr>
        <p:spPr bwMode="gray">
          <a:xfrm>
            <a:off x="5542835" y="3676945"/>
            <a:ext cx="246967" cy="194194"/>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8" name="Bulgaria" descr="© INSCALE GmbH, 05.05.2010&#10;http://www.presentationload.com/">
            <a:extLst>
              <a:ext uri="{FF2B5EF4-FFF2-40B4-BE49-F238E27FC236}">
                <a16:creationId xmlns:a16="http://schemas.microsoft.com/office/drawing/2014/main" id="{5DDCF8B3-B507-4DA8-B11D-8B3C25794CB3}"/>
              </a:ext>
            </a:extLst>
          </p:cNvPr>
          <p:cNvSpPr>
            <a:spLocks/>
          </p:cNvSpPr>
          <p:nvPr/>
        </p:nvSpPr>
        <p:spPr bwMode="gray">
          <a:xfrm>
            <a:off x="6365492" y="2665094"/>
            <a:ext cx="170323" cy="97097"/>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54" name="Brazil" descr="© INSCALE GmbH, 05.05.2010&#10;http://www.presentationload.com/">
            <a:extLst>
              <a:ext uri="{FF2B5EF4-FFF2-40B4-BE49-F238E27FC236}">
                <a16:creationId xmlns:a16="http://schemas.microsoft.com/office/drawing/2014/main" id="{898D296A-C3AB-4FF5-B841-BEA3C2C78F1D}"/>
              </a:ext>
            </a:extLst>
          </p:cNvPr>
          <p:cNvSpPr>
            <a:spLocks noEditPoints="1"/>
          </p:cNvSpPr>
          <p:nvPr/>
        </p:nvSpPr>
        <p:spPr bwMode="gray">
          <a:xfrm>
            <a:off x="3456086" y="4016101"/>
            <a:ext cx="1202477" cy="1359356"/>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bg1">
              <a:lumMod val="85000"/>
            </a:schemeClr>
          </a:solidFill>
          <a:ln w="3175">
            <a:solidFill>
              <a:schemeClr val="tx2">
                <a:lumMod val="60000"/>
                <a:lumOff val="40000"/>
              </a:schemeClr>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3" name="Botswana" descr="© INSCALE GmbH, 05.05.2010&#10;http://www.presentationload.com/">
            <a:extLst>
              <a:ext uri="{FF2B5EF4-FFF2-40B4-BE49-F238E27FC236}">
                <a16:creationId xmlns:a16="http://schemas.microsoft.com/office/drawing/2014/main" id="{6A51F900-3E82-442C-BD91-C08D0A7CE02C}"/>
              </a:ext>
            </a:extLst>
          </p:cNvPr>
          <p:cNvSpPr>
            <a:spLocks/>
          </p:cNvSpPr>
          <p:nvPr/>
        </p:nvSpPr>
        <p:spPr bwMode="gray">
          <a:xfrm>
            <a:off x="6317802" y="4818259"/>
            <a:ext cx="279329" cy="315139"/>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4" name="Bosnia and Herzegovina" descr="© INSCALE GmbH, 05.05.2010&#10;http://www.presentationload.com/">
            <a:extLst>
              <a:ext uri="{FF2B5EF4-FFF2-40B4-BE49-F238E27FC236}">
                <a16:creationId xmlns:a16="http://schemas.microsoft.com/office/drawing/2014/main" id="{63C4E4F7-427C-464D-8CB9-6BC12D2FA1E9}"/>
              </a:ext>
            </a:extLst>
          </p:cNvPr>
          <p:cNvSpPr>
            <a:spLocks/>
          </p:cNvSpPr>
          <p:nvPr/>
        </p:nvSpPr>
        <p:spPr bwMode="gray">
          <a:xfrm>
            <a:off x="6173028" y="2625914"/>
            <a:ext cx="114116" cy="102207"/>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55" name="Bolivia" descr="© INSCALE GmbH, 05.05.2010&#10;http://www.presentationload.com/">
            <a:extLst>
              <a:ext uri="{FF2B5EF4-FFF2-40B4-BE49-F238E27FC236}">
                <a16:creationId xmlns:a16="http://schemas.microsoft.com/office/drawing/2014/main" id="{004CE668-05E2-41D8-B7B4-BEC3F5090901}"/>
              </a:ext>
            </a:extLst>
          </p:cNvPr>
          <p:cNvSpPr>
            <a:spLocks/>
          </p:cNvSpPr>
          <p:nvPr/>
        </p:nvSpPr>
        <p:spPr bwMode="gray">
          <a:xfrm>
            <a:off x="3587532" y="4537188"/>
            <a:ext cx="384929" cy="458229"/>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5" name="Bhutan" descr="© INSCALE GmbH, 05.05.2010&#10;http://www.presentationload.com/">
            <a:extLst>
              <a:ext uri="{FF2B5EF4-FFF2-40B4-BE49-F238E27FC236}">
                <a16:creationId xmlns:a16="http://schemas.microsoft.com/office/drawing/2014/main" id="{C9CBE24C-4713-463F-8187-0A098DD77D0B}"/>
              </a:ext>
            </a:extLst>
          </p:cNvPr>
          <p:cNvSpPr>
            <a:spLocks/>
          </p:cNvSpPr>
          <p:nvPr/>
        </p:nvSpPr>
        <p:spPr bwMode="gray">
          <a:xfrm>
            <a:off x="8365079" y="3213605"/>
            <a:ext cx="100490" cy="57917"/>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6" name="Benin" descr="© INSCALE GmbH, 05.05.2010&#10;http://www.presentationload.com/">
            <a:extLst>
              <a:ext uri="{FF2B5EF4-FFF2-40B4-BE49-F238E27FC236}">
                <a16:creationId xmlns:a16="http://schemas.microsoft.com/office/drawing/2014/main" id="{EC5F8888-9651-487A-A258-9BC60997CAD2}"/>
              </a:ext>
            </a:extLst>
          </p:cNvPr>
          <p:cNvSpPr>
            <a:spLocks/>
          </p:cNvSpPr>
          <p:nvPr/>
        </p:nvSpPr>
        <p:spPr bwMode="gray">
          <a:xfrm>
            <a:off x="5737003" y="3768931"/>
            <a:ext cx="95381" cy="214635"/>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30" name="Belize" descr="© INSCALE GmbH, 05.05.2010&#10;http://www.presentationload.com/">
            <a:extLst>
              <a:ext uri="{FF2B5EF4-FFF2-40B4-BE49-F238E27FC236}">
                <a16:creationId xmlns:a16="http://schemas.microsoft.com/office/drawing/2014/main" id="{228EC6A2-0B05-479E-A706-A0ABFBB2BFB7}"/>
              </a:ext>
            </a:extLst>
          </p:cNvPr>
          <p:cNvSpPr>
            <a:spLocks/>
          </p:cNvSpPr>
          <p:nvPr/>
        </p:nvSpPr>
        <p:spPr bwMode="gray">
          <a:xfrm>
            <a:off x="3001622" y="3555999"/>
            <a:ext cx="45987" cy="91986"/>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89" name="Belgium" descr="© INSCALE GmbH, 05.05.2010&#10;http://www.presentationload.com/">
            <a:extLst>
              <a:ext uri="{FF2B5EF4-FFF2-40B4-BE49-F238E27FC236}">
                <a16:creationId xmlns:a16="http://schemas.microsoft.com/office/drawing/2014/main" id="{58A33E05-0D6F-45CD-A5D0-A1E9C6E76EDB}"/>
              </a:ext>
            </a:extLst>
          </p:cNvPr>
          <p:cNvSpPr>
            <a:spLocks/>
          </p:cNvSpPr>
          <p:nvPr/>
        </p:nvSpPr>
        <p:spPr bwMode="gray">
          <a:xfrm>
            <a:off x="5827273" y="2418091"/>
            <a:ext cx="97083" cy="66435"/>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8" name="Belarus" descr="© INSCALE GmbH, 05.05.2010&#10;http://www.presentationload.com/">
            <a:extLst>
              <a:ext uri="{FF2B5EF4-FFF2-40B4-BE49-F238E27FC236}">
                <a16:creationId xmlns:a16="http://schemas.microsoft.com/office/drawing/2014/main" id="{648706CC-C1F0-4E83-8AE5-F1AC49795FFB}"/>
              </a:ext>
            </a:extLst>
          </p:cNvPr>
          <p:cNvSpPr>
            <a:spLocks/>
          </p:cNvSpPr>
          <p:nvPr/>
        </p:nvSpPr>
        <p:spPr bwMode="gray">
          <a:xfrm>
            <a:off x="6367196" y="2261375"/>
            <a:ext cx="245265" cy="160125"/>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7" name="Bangladesh" descr="© INSCALE GmbH, 05.05.2010&#10;http://www.presentationload.com/">
            <a:extLst>
              <a:ext uri="{FF2B5EF4-FFF2-40B4-BE49-F238E27FC236}">
                <a16:creationId xmlns:a16="http://schemas.microsoft.com/office/drawing/2014/main" id="{87985816-309C-4642-AF07-B3FC732BAE23}"/>
              </a:ext>
            </a:extLst>
          </p:cNvPr>
          <p:cNvSpPr>
            <a:spLocks/>
          </p:cNvSpPr>
          <p:nvPr/>
        </p:nvSpPr>
        <p:spPr bwMode="gray">
          <a:xfrm>
            <a:off x="8351454" y="3276633"/>
            <a:ext cx="161806" cy="183973"/>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89" name="Bahrain" descr="© INSCALE GmbH, 05.05.2010&#10;http://www.presentationload.com/">
            <a:extLst>
              <a:ext uri="{FF2B5EF4-FFF2-40B4-BE49-F238E27FC236}">
                <a16:creationId xmlns:a16="http://schemas.microsoft.com/office/drawing/2014/main" id="{E9EE5E76-BC72-4B5F-9963-54DF2B3FDEB0}"/>
              </a:ext>
            </a:extLst>
          </p:cNvPr>
          <p:cNvSpPr>
            <a:spLocks/>
          </p:cNvSpPr>
          <p:nvPr/>
        </p:nvSpPr>
        <p:spPr bwMode="gray">
          <a:xfrm>
            <a:off x="7230731" y="3278337"/>
            <a:ext cx="11922" cy="23848"/>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90" name="Azerbaijan" descr="© INSCALE GmbH, 05.05.2010&#10;http://www.presentationload.com/">
            <a:extLst>
              <a:ext uri="{FF2B5EF4-FFF2-40B4-BE49-F238E27FC236}">
                <a16:creationId xmlns:a16="http://schemas.microsoft.com/office/drawing/2014/main" id="{2F5B999F-DD59-4EC0-A73A-14E866748DBC}"/>
              </a:ext>
            </a:extLst>
          </p:cNvPr>
          <p:cNvSpPr>
            <a:spLocks noEditPoints="1"/>
          </p:cNvSpPr>
          <p:nvPr/>
        </p:nvSpPr>
        <p:spPr bwMode="gray">
          <a:xfrm>
            <a:off x="7005905" y="2741748"/>
            <a:ext cx="156697" cy="126056"/>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25" name="Australia" descr="© INSCALE GmbH, 05.05.2010&#10;http://www.presentationload.com/">
            <a:extLst>
              <a:ext uri="{FF2B5EF4-FFF2-40B4-BE49-F238E27FC236}">
                <a16:creationId xmlns:a16="http://schemas.microsoft.com/office/drawing/2014/main" id="{0E0A7B75-7F36-4012-BD2E-95BFDC31F694}"/>
              </a:ext>
            </a:extLst>
          </p:cNvPr>
          <p:cNvSpPr>
            <a:spLocks noEditPoints="1"/>
          </p:cNvSpPr>
          <p:nvPr/>
        </p:nvSpPr>
        <p:spPr bwMode="gray">
          <a:xfrm>
            <a:off x="9056589" y="4569555"/>
            <a:ext cx="1226323" cy="1149832"/>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90" name="Austria" descr="© INSCALE GmbH, 05.05.2010&#10;http://www.presentationload.com/">
            <a:extLst>
              <a:ext uri="{FF2B5EF4-FFF2-40B4-BE49-F238E27FC236}">
                <a16:creationId xmlns:a16="http://schemas.microsoft.com/office/drawing/2014/main" id="{D64076ED-3D13-4B69-9B86-F4FC9788A4A4}"/>
              </a:ext>
            </a:extLst>
          </p:cNvPr>
          <p:cNvSpPr>
            <a:spLocks/>
          </p:cNvSpPr>
          <p:nvPr/>
        </p:nvSpPr>
        <p:spPr bwMode="gray">
          <a:xfrm>
            <a:off x="6007815" y="2499858"/>
            <a:ext cx="197574" cy="86877"/>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56" name="Argentina" descr="© INSCALE GmbH, 05.05.2010&#10;http://www.presentationload.com/">
            <a:extLst>
              <a:ext uri="{FF2B5EF4-FFF2-40B4-BE49-F238E27FC236}">
                <a16:creationId xmlns:a16="http://schemas.microsoft.com/office/drawing/2014/main" id="{8B57D248-FC20-4B55-A21E-9F0767DB6F07}"/>
              </a:ext>
            </a:extLst>
          </p:cNvPr>
          <p:cNvSpPr>
            <a:spLocks noEditPoints="1"/>
          </p:cNvSpPr>
          <p:nvPr/>
        </p:nvSpPr>
        <p:spPr bwMode="gray">
          <a:xfrm>
            <a:off x="3648848" y="4961349"/>
            <a:ext cx="471793" cy="1054438"/>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91" name="Armenia" descr="© INSCALE GmbH, 05.05.2010&#10;http://www.presentationload.com/">
            <a:extLst>
              <a:ext uri="{FF2B5EF4-FFF2-40B4-BE49-F238E27FC236}">
                <a16:creationId xmlns:a16="http://schemas.microsoft.com/office/drawing/2014/main" id="{C3C8CA9B-911D-44DC-B591-F5AC7EFF3E9E}"/>
              </a:ext>
            </a:extLst>
          </p:cNvPr>
          <p:cNvSpPr>
            <a:spLocks/>
          </p:cNvSpPr>
          <p:nvPr/>
        </p:nvSpPr>
        <p:spPr bwMode="gray">
          <a:xfrm>
            <a:off x="6963325" y="2760487"/>
            <a:ext cx="95381" cy="91986"/>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92" name="Angola" descr="© INSCALE GmbH, 05.05.2010&#10;http://www.presentationload.com/">
            <a:extLst>
              <a:ext uri="{FF2B5EF4-FFF2-40B4-BE49-F238E27FC236}">
                <a16:creationId xmlns:a16="http://schemas.microsoft.com/office/drawing/2014/main" id="{5D953C18-7FBB-4213-B7C6-89BE68029617}"/>
              </a:ext>
            </a:extLst>
          </p:cNvPr>
          <p:cNvSpPr>
            <a:spLocks noEditPoints="1"/>
          </p:cNvSpPr>
          <p:nvPr/>
        </p:nvSpPr>
        <p:spPr bwMode="gray">
          <a:xfrm>
            <a:off x="6069131" y="4348105"/>
            <a:ext cx="383225" cy="478671"/>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91" name="Andorra" descr="© INSCALE GmbH, 05.05.2010&#10;http://www.presentationload.com/">
            <a:extLst>
              <a:ext uri="{FF2B5EF4-FFF2-40B4-BE49-F238E27FC236}">
                <a16:creationId xmlns:a16="http://schemas.microsoft.com/office/drawing/2014/main" id="{6C90984A-D089-48A1-8C34-6409EB2395A4}"/>
              </a:ext>
            </a:extLst>
          </p:cNvPr>
          <p:cNvSpPr>
            <a:spLocks/>
          </p:cNvSpPr>
          <p:nvPr/>
        </p:nvSpPr>
        <p:spPr bwMode="gray">
          <a:xfrm>
            <a:off x="5779583" y="2717900"/>
            <a:ext cx="13626" cy="6814"/>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93" name="Algeria" descr="© INSCALE GmbH, 05.05.2010&#10;http://www.presentationload.com/">
            <a:extLst>
              <a:ext uri="{FF2B5EF4-FFF2-40B4-BE49-F238E27FC236}">
                <a16:creationId xmlns:a16="http://schemas.microsoft.com/office/drawing/2014/main" id="{3327BC1F-E7B9-4F6E-BAFC-AE6550584A8B}"/>
              </a:ext>
            </a:extLst>
          </p:cNvPr>
          <p:cNvSpPr>
            <a:spLocks/>
          </p:cNvSpPr>
          <p:nvPr/>
        </p:nvSpPr>
        <p:spPr bwMode="gray">
          <a:xfrm>
            <a:off x="5440641" y="2906984"/>
            <a:ext cx="638709" cy="630278"/>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94" name="Albania" descr="© INSCALE GmbH, 05.05.2010&#10;http://www.presentationload.com/">
            <a:extLst>
              <a:ext uri="{FF2B5EF4-FFF2-40B4-BE49-F238E27FC236}">
                <a16:creationId xmlns:a16="http://schemas.microsoft.com/office/drawing/2014/main" id="{D86EBFB1-F77A-470D-A73E-F5306B2E2556}"/>
              </a:ext>
            </a:extLst>
          </p:cNvPr>
          <p:cNvSpPr>
            <a:spLocks/>
          </p:cNvSpPr>
          <p:nvPr/>
        </p:nvSpPr>
        <p:spPr bwMode="gray">
          <a:xfrm>
            <a:off x="6270112" y="2717900"/>
            <a:ext cx="63019" cy="105614"/>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96" name="Afghanistan" descr="© INSCALE GmbH, 05.05.2010&#10;http://www.presentationload.com/">
            <a:extLst>
              <a:ext uri="{FF2B5EF4-FFF2-40B4-BE49-F238E27FC236}">
                <a16:creationId xmlns:a16="http://schemas.microsoft.com/office/drawing/2014/main" id="{654E81FC-CA07-4990-A817-E4BA5CAF4F54}"/>
              </a:ext>
            </a:extLst>
          </p:cNvPr>
          <p:cNvSpPr>
            <a:spLocks/>
          </p:cNvSpPr>
          <p:nvPr/>
        </p:nvSpPr>
        <p:spPr bwMode="gray">
          <a:xfrm>
            <a:off x="7486215" y="2859287"/>
            <a:ext cx="391742" cy="318546"/>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solidFill>
            <a:schemeClr val="bg1">
              <a:lumMod val="85000"/>
            </a:schemeClr>
          </a:solidFill>
          <a:ln w="3175">
            <a:solidFill>
              <a:schemeClr val="bg1"/>
            </a:solidFill>
            <a:round/>
            <a:headEnd/>
            <a:tailEnd/>
          </a:ln>
        </p:spPr>
        <p:txBody>
          <a:bodyPr/>
          <a:lstStyle/>
          <a:p>
            <a:pPr>
              <a:spcBef>
                <a:spcPct val="0"/>
              </a:spcBef>
            </a:pPr>
            <a:endParaRPr lang="de-DE" sz="1600" dirty="0">
              <a:latin typeface="BMWGroupTN Condensed" pitchFamily="50" charset="0"/>
              <a:cs typeface="Calibri" pitchFamily="34" charset="0"/>
            </a:endParaRPr>
          </a:p>
        </p:txBody>
      </p:sp>
      <p:sp>
        <p:nvSpPr>
          <p:cNvPr id="196" name="Rechteck 195">
            <a:extLst>
              <a:ext uri="{FF2B5EF4-FFF2-40B4-BE49-F238E27FC236}">
                <a16:creationId xmlns:a16="http://schemas.microsoft.com/office/drawing/2014/main" id="{821E24EF-1159-4E82-8563-2538DF050A14}"/>
              </a:ext>
            </a:extLst>
          </p:cNvPr>
          <p:cNvSpPr>
            <a:spLocks/>
          </p:cNvSpPr>
          <p:nvPr/>
        </p:nvSpPr>
        <p:spPr>
          <a:xfrm>
            <a:off x="4494652" y="904609"/>
            <a:ext cx="3302555" cy="430887"/>
          </a:xfrm>
          <a:prstGeom prst="rect">
            <a:avLst/>
          </a:prstGeom>
        </p:spPr>
        <p:txBody>
          <a:bodyPr wrap="square" lIns="0" tIns="0" rIns="0" bIns="0" anchor="t" anchorCtr="0">
            <a:spAutoFit/>
          </a:bodyPr>
          <a:lstStyle/>
          <a:p>
            <a:r>
              <a:rPr lang="en-GB" sz="2800" dirty="0">
                <a:solidFill>
                  <a:schemeClr val="tx2">
                    <a:lumMod val="60000"/>
                    <a:lumOff val="40000"/>
                  </a:schemeClr>
                </a:solidFill>
                <a:latin typeface="BMWGroupTN Condensed" pitchFamily="50" charset="0"/>
              </a:rPr>
              <a:t>Production Network 2</a:t>
            </a:r>
          </a:p>
        </p:txBody>
      </p:sp>
      <p:pic>
        <p:nvPicPr>
          <p:cNvPr id="7" name="Picture 6">
            <a:extLst>
              <a:ext uri="{FF2B5EF4-FFF2-40B4-BE49-F238E27FC236}">
                <a16:creationId xmlns:a16="http://schemas.microsoft.com/office/drawing/2014/main" id="{C3DCBCDE-CE33-D7C3-C097-2588B9B9A70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93389" y="4445201"/>
            <a:ext cx="183948" cy="122632"/>
          </a:xfrm>
          <a:prstGeom prst="rect">
            <a:avLst/>
          </a:prstGeom>
        </p:spPr>
      </p:pic>
      <p:pic>
        <p:nvPicPr>
          <p:cNvPr id="10" name="Picture 9">
            <a:extLst>
              <a:ext uri="{FF2B5EF4-FFF2-40B4-BE49-F238E27FC236}">
                <a16:creationId xmlns:a16="http://schemas.microsoft.com/office/drawing/2014/main" id="{2079E278-AC69-F9F8-C1CC-E9B1A174026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15515" y="3240598"/>
            <a:ext cx="161529" cy="107686"/>
          </a:xfrm>
          <a:prstGeom prst="rect">
            <a:avLst/>
          </a:prstGeom>
        </p:spPr>
      </p:pic>
      <p:pic>
        <p:nvPicPr>
          <p:cNvPr id="28" name="Picture 27">
            <a:extLst>
              <a:ext uri="{FF2B5EF4-FFF2-40B4-BE49-F238E27FC236}">
                <a16:creationId xmlns:a16="http://schemas.microsoft.com/office/drawing/2014/main" id="{98F1DD90-BED1-0FAC-EAB4-6654DDFE09A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96331" y="3335676"/>
            <a:ext cx="184841" cy="123227"/>
          </a:xfrm>
          <a:prstGeom prst="rect">
            <a:avLst/>
          </a:prstGeom>
        </p:spPr>
      </p:pic>
      <p:pic>
        <p:nvPicPr>
          <p:cNvPr id="59" name="Picture 58">
            <a:extLst>
              <a:ext uri="{FF2B5EF4-FFF2-40B4-BE49-F238E27FC236}">
                <a16:creationId xmlns:a16="http://schemas.microsoft.com/office/drawing/2014/main" id="{5CD8E617-CDF9-6C30-F10D-29F504357C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01570" y="1147613"/>
            <a:ext cx="3086531" cy="183858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6" name="Picture 25">
            <a:extLst>
              <a:ext uri="{FF2B5EF4-FFF2-40B4-BE49-F238E27FC236}">
                <a16:creationId xmlns:a16="http://schemas.microsoft.com/office/drawing/2014/main" id="{71886DB7-470B-DB2A-339B-E6232F35E06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07427" y="2237288"/>
            <a:ext cx="173729" cy="117285"/>
          </a:xfrm>
          <a:prstGeom prst="rect">
            <a:avLst/>
          </a:prstGeom>
        </p:spPr>
      </p:pic>
      <p:pic>
        <p:nvPicPr>
          <p:cNvPr id="18" name="Picture 17">
            <a:extLst>
              <a:ext uri="{FF2B5EF4-FFF2-40B4-BE49-F238E27FC236}">
                <a16:creationId xmlns:a16="http://schemas.microsoft.com/office/drawing/2014/main" id="{479389C2-4503-5F12-1C99-2A4A70E9C31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00356" y="1730099"/>
            <a:ext cx="135795" cy="90530"/>
          </a:xfrm>
          <a:prstGeom prst="rect">
            <a:avLst/>
          </a:prstGeom>
        </p:spPr>
      </p:pic>
      <p:pic>
        <p:nvPicPr>
          <p:cNvPr id="13" name="Picture 12">
            <a:extLst>
              <a:ext uri="{FF2B5EF4-FFF2-40B4-BE49-F238E27FC236}">
                <a16:creationId xmlns:a16="http://schemas.microsoft.com/office/drawing/2014/main" id="{6461C47A-D752-A01C-4191-276F2C544A9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761936" y="1870928"/>
            <a:ext cx="116124" cy="77416"/>
          </a:xfrm>
          <a:prstGeom prst="rect">
            <a:avLst/>
          </a:prstGeom>
        </p:spPr>
      </p:pic>
      <p:pic>
        <p:nvPicPr>
          <p:cNvPr id="92" name="Picture 91">
            <a:extLst>
              <a:ext uri="{FF2B5EF4-FFF2-40B4-BE49-F238E27FC236}">
                <a16:creationId xmlns:a16="http://schemas.microsoft.com/office/drawing/2014/main" id="{7A980F63-1528-FEE2-8528-6F2B5406B5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6976" y="3523642"/>
            <a:ext cx="183948" cy="122632"/>
          </a:xfrm>
          <a:prstGeom prst="rect">
            <a:avLst/>
          </a:prstGeom>
        </p:spPr>
      </p:pic>
    </p:spTree>
    <p:extLst>
      <p:ext uri="{BB962C8B-B14F-4D97-AF65-F5344CB8AC3E}">
        <p14:creationId xmlns:p14="http://schemas.microsoft.com/office/powerpoint/2010/main" val="1958292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300A08C-ABA4-452B-BEF3-8D969A921B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6" name="Objekt 5" hidden="1">
                        <a:extLst>
                          <a:ext uri="{FF2B5EF4-FFF2-40B4-BE49-F238E27FC236}">
                            <a16:creationId xmlns:a16="http://schemas.microsoft.com/office/drawing/2014/main" id="{7300A08C-ABA4-452B-BEF3-8D969A921B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5ADF13F-75CA-414C-BDD4-B846CABBC3C4}"/>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de-DE" sz="2600" b="1" dirty="0">
              <a:solidFill>
                <a:schemeClr val="tx1"/>
              </a:solidFill>
              <a:latin typeface="BMWGroupTN Condensed" pitchFamily="50" charset="0"/>
              <a:ea typeface="+mj-ea"/>
              <a:cs typeface="+mj-cs"/>
              <a:sym typeface="BMW Group Condensed" panose="020B0606020202020204" pitchFamily="34" charset="0"/>
            </a:endParaRPr>
          </a:p>
        </p:txBody>
      </p:sp>
      <p:grpSp>
        <p:nvGrpSpPr>
          <p:cNvPr id="17" name="Group 16">
            <a:extLst>
              <a:ext uri="{FF2B5EF4-FFF2-40B4-BE49-F238E27FC236}">
                <a16:creationId xmlns:a16="http://schemas.microsoft.com/office/drawing/2014/main" id="{F283D88F-B0FE-5D28-C3F1-3881B6688489}"/>
              </a:ext>
            </a:extLst>
          </p:cNvPr>
          <p:cNvGrpSpPr/>
          <p:nvPr/>
        </p:nvGrpSpPr>
        <p:grpSpPr>
          <a:xfrm>
            <a:off x="8507387" y="312259"/>
            <a:ext cx="3370288" cy="532863"/>
            <a:chOff x="8351812" y="347184"/>
            <a:chExt cx="3370288" cy="532863"/>
          </a:xfrm>
        </p:grpSpPr>
        <p:pic>
          <p:nvPicPr>
            <p:cNvPr id="18" name="Graphic 17">
              <a:extLst>
                <a:ext uri="{FF2B5EF4-FFF2-40B4-BE49-F238E27FC236}">
                  <a16:creationId xmlns:a16="http://schemas.microsoft.com/office/drawing/2014/main" id="{DE929239-4A3F-2C1A-F931-47EB765EFD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48799" y="453580"/>
              <a:ext cx="2273301" cy="426087"/>
            </a:xfrm>
            <a:prstGeom prst="rect">
              <a:avLst/>
            </a:prstGeom>
          </p:spPr>
        </p:pic>
        <p:pic>
          <p:nvPicPr>
            <p:cNvPr id="19" name="Graphic 18">
              <a:extLst>
                <a:ext uri="{FF2B5EF4-FFF2-40B4-BE49-F238E27FC236}">
                  <a16:creationId xmlns:a16="http://schemas.microsoft.com/office/drawing/2014/main" id="{027B5DB1-CBF2-2042-E5FC-0FC9350777C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51812" y="347184"/>
              <a:ext cx="1021843" cy="532863"/>
            </a:xfrm>
            <a:prstGeom prst="rect">
              <a:avLst/>
            </a:prstGeom>
          </p:spPr>
        </p:pic>
      </p:grpSp>
      <p:sp>
        <p:nvSpPr>
          <p:cNvPr id="2" name="_h1">
            <a:extLst>
              <a:ext uri="{FF2B5EF4-FFF2-40B4-BE49-F238E27FC236}">
                <a16:creationId xmlns:a16="http://schemas.microsoft.com/office/drawing/2014/main" id="{B1379D41-0643-06F0-17F0-74EA54140788}"/>
              </a:ext>
            </a:extLst>
          </p:cNvPr>
          <p:cNvSpPr>
            <a:spLocks noGrp="1" noChangeArrowheads="1"/>
          </p:cNvSpPr>
          <p:nvPr>
            <p:ph type="title"/>
          </p:nvPr>
        </p:nvSpPr>
        <p:spPr>
          <a:xfrm>
            <a:off x="488947" y="347184"/>
            <a:ext cx="11224684" cy="400110"/>
          </a:xfrm>
        </p:spPr>
        <p:txBody>
          <a:bodyPr/>
          <a:lstStyle/>
          <a:p>
            <a:r>
              <a:rPr lang="en-GB" noProof="1"/>
              <a:t>Tools and technologies</a:t>
            </a:r>
          </a:p>
        </p:txBody>
      </p:sp>
      <p:pic>
        <p:nvPicPr>
          <p:cNvPr id="7" name="Picture 6">
            <a:extLst>
              <a:ext uri="{FF2B5EF4-FFF2-40B4-BE49-F238E27FC236}">
                <a16:creationId xmlns:a16="http://schemas.microsoft.com/office/drawing/2014/main" id="{58A6CE90-7170-01CE-C57D-EA6959FCBA2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61440" y="909286"/>
            <a:ext cx="9269119" cy="5039428"/>
          </a:xfrm>
          <a:prstGeom prst="rect">
            <a:avLst/>
          </a:prstGeom>
        </p:spPr>
      </p:pic>
    </p:spTree>
    <p:custDataLst>
      <p:tags r:id="rId1"/>
    </p:custDataLst>
    <p:extLst>
      <p:ext uri="{BB962C8B-B14F-4D97-AF65-F5344CB8AC3E}">
        <p14:creationId xmlns:p14="http://schemas.microsoft.com/office/powerpoint/2010/main" val="231422807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PRESENTATIONDONOTDELETE" val="&lt;?xml version=&quot;1.0&quot; encoding=&quot;UTF-16&quot; standalone=&quot;yes&quot;?&gt;&lt;root reqver=&quot;27037&quot;&gt;&lt;version val=&quot;326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Qrjs7Q0Sc2oMxGMzJq3eg"/>
</p:tagLst>
</file>

<file path=ppt/tags/tag102.xml><?xml version="1.0" encoding="utf-8"?>
<p:tagLst xmlns:a="http://schemas.openxmlformats.org/drawingml/2006/main" xmlns:r="http://schemas.openxmlformats.org/officeDocument/2006/relationships" xmlns:p="http://schemas.openxmlformats.org/presentationml/2006/main">
  <p:tag name="MIO_GUID" val="60146a03-09ca-4d73-a74d-05109520a33b"/>
  <p:tag name="MIO_EKGUID" val="3e604223-cb1c-43f5-9a1a-7ce70b83c4f3"/>
  <p:tag name="MIO_UPDATE" val="True"/>
  <p:tag name="MIO_VERSION" val="18.12.2017 14:25:01"/>
  <p:tag name="MIO_DBID" val="917DD09C-76C3-4640-8E0D-382111CB3B69"/>
  <p:tag name="MIO_LASTDOWNLOADED" val="15.03.2018 14:37:21"/>
  <p:tag name="MIO_OBJECTNAME" val="Looping Circle Charts 2 Segments (3)"/>
  <p:tag name="MIO_LASTEDITORNAME" val="empower enterpris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LkZEDyAR8qVF42fY3CAsA"/>
</p:tagLst>
</file>

<file path=ppt/tags/tag105.xml><?xml version="1.0" encoding="utf-8"?>
<p:tagLst xmlns:a="http://schemas.openxmlformats.org/drawingml/2006/main" xmlns:r="http://schemas.openxmlformats.org/officeDocument/2006/relationships" xmlns:p="http://schemas.openxmlformats.org/presentationml/2006/main">
  <p:tag name="MIO_GUID" val="cd5faf47-c1e9-4d77-9ac2-a4eaad4dafa4"/>
  <p:tag name="MIO_STRING_IGNORE_CHECKSUM_FOR_NEXT_SAVE" val="False"/>
  <p:tag name="MIO_EKGUID" val="0176dc41-1ccc-455e-9858-98dc13e9fe94"/>
  <p:tag name="MIO_UPDATE" val="True"/>
  <p:tag name="MIO_VERSION" val="18.12.2017 14:20:24"/>
  <p:tag name="MIO_DBID" val="917DD09C-76C3-4640-8E0D-382111CB3B69"/>
  <p:tag name="MIO_LASTDOWNLOADED" val="15.03.2018 14:36:09"/>
  <p:tag name="MIO_OBJECTNAME" val="SWOT"/>
  <p:tag name="MIO_LASTEDITORNAME" val="empower enterprise"/>
  <p:tag name="FB-SLIDENAME" val="SWOT."/>
  <p:tag name="FB-CATEGORY" val="Unbenannt"/>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8.xml><?xml version="1.0" encoding="utf-8"?>
<p:tagLst xmlns:a="http://schemas.openxmlformats.org/drawingml/2006/main" xmlns:r="http://schemas.openxmlformats.org/officeDocument/2006/relationships" xmlns:p="http://schemas.openxmlformats.org/presentationml/2006/main">
  <p:tag name="MIO_GUID" val="44003ba8-1ee7-4729-a643-76ca1870514b"/>
  <p:tag name="MIO_EKGUID" val="c1d77fee-6005-4f59-90b9-1c7055087b74"/>
  <p:tag name="MIO_UPDATE" val="True"/>
  <p:tag name="MIO_VERSION" val="18.12.2017 14:21:26"/>
  <p:tag name="MIO_DBID" val="917DD09C-76C3-4640-8E0D-382111CB3B69"/>
  <p:tag name="MIO_LASTDOWNLOADED" val="15.03.2018 14:36:27"/>
  <p:tag name="MIO_OBJECTNAME" val="Pyramid 3 Segements"/>
  <p:tag name="MIO_LASTEDITORNAME" val="empower enterprise"/>
  <p:tag name="FB-SLIDENAME" val="Pyramid.3 Segements."/>
  <p:tag name="FB-CATEGORY" val="Unbenannt"/>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39zw8NywRpuNH8PIRKAgsQ"/>
</p:tagLst>
</file>

<file path=ppt/tags/tag111.xml><?xml version="1.0" encoding="utf-8"?>
<p:tagLst xmlns:a="http://schemas.openxmlformats.org/drawingml/2006/main" xmlns:r="http://schemas.openxmlformats.org/officeDocument/2006/relationships" xmlns:p="http://schemas.openxmlformats.org/presentationml/2006/main">
  <p:tag name="MIO_GUID" val="44003ba8-1ee7-4729-a643-76ca1870514b"/>
  <p:tag name="MIO_EKGUID" val="c1d77fee-6005-4f59-90b9-1c7055087b74"/>
  <p:tag name="MIO_UPDATE" val="True"/>
  <p:tag name="MIO_VERSION" val="18.12.2017 14:21:26"/>
  <p:tag name="MIO_DBID" val="917DD09C-76C3-4640-8E0D-382111CB3B69"/>
  <p:tag name="MIO_LASTDOWNLOADED" val="15.03.2018 14:36:27"/>
  <p:tag name="MIO_OBJECTNAME" val="Pyramid 3 Segements"/>
  <p:tag name="MIO_LASTEDITORNAME" val="empower enterprise"/>
  <p:tag name="FB-SLIDENAME" val="Pyramid.3 Segements."/>
  <p:tag name="FB-CATEGORY" val="Unbenannt"/>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9zw8NywRpuNH8PIRKAgsQ"/>
</p:tagLst>
</file>

<file path=ppt/tags/tag114.xml><?xml version="1.0" encoding="utf-8"?>
<p:tagLst xmlns:a="http://schemas.openxmlformats.org/drawingml/2006/main" xmlns:r="http://schemas.openxmlformats.org/officeDocument/2006/relationships" xmlns:p="http://schemas.openxmlformats.org/presentationml/2006/main">
  <p:tag name="MIO_GUID" val="adccd74b-ce0e-439a-b0dd-d1857a53f4fb"/>
  <p:tag name="MIO_EKGUID" val="af0944b2-742d-49cd-9d35-2eaac4e73b91"/>
  <p:tag name="MIO_UPDATE" val="True"/>
  <p:tag name="MIO_VERSION" val="18.12.2017 14:21:12"/>
  <p:tag name="MIO_DBID" val="917DD09C-76C3-4640-8E0D-382111CB3B69"/>
  <p:tag name="MIO_LASTDOWNLOADED" val="15.03.2018 14:36:23"/>
  <p:tag name="MIO_OBJECTNAME" val="Zyklus (Smartart – Ausrichtung manuell editiert)"/>
  <p:tag name="MIO_LASTEDITORNAME" val="empower enterprise"/>
  <p:tag name="FB-SLIDENAME" val="Cyklus.Smartart – Please edit Alignment manually."/>
  <p:tag name="FB-CATEGORY" val="Unbenannt"/>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z04jeLfzSJ.fcyPf9Haqlg"/>
</p:tagLst>
</file>

<file path=ppt/tags/tag117.xml><?xml version="1.0" encoding="utf-8"?>
<p:tagLst xmlns:a="http://schemas.openxmlformats.org/drawingml/2006/main" xmlns:r="http://schemas.openxmlformats.org/officeDocument/2006/relationships" xmlns:p="http://schemas.openxmlformats.org/presentationml/2006/main">
  <p:tag name="MIO_GUID" val="82725deb-4c3a-400d-ab98-cdbb7b55ed6d"/>
  <p:tag name="MIO_STRING_IGNORE_CHECKSUM_FOR_NEXT_SAVE" val="False"/>
  <p:tag name="MIO_EKGUID" val="b4289138-7e48-4a32-9b24-4ac1ec1ca592"/>
  <p:tag name="MIO_UPDATE" val="True"/>
  <p:tag name="MIO_VERSION" val="18.12.2017 14:20:43"/>
  <p:tag name="MIO_DBID" val="917DD09C-76C3-4640-8E0D-382111CB3B69"/>
  <p:tag name="MIO_LASTDOWNLOADED" val="15.03.2018 14:36:14"/>
  <p:tag name="MIO_OBJECTNAME" val="Zeitplan"/>
  <p:tag name="MIO_LASTEDITORNAME" val="empower enterprise"/>
  <p:tag name="FB-SLIDENAME" val="Timetable."/>
  <p:tag name="FB-CATEGORY" val="Unbenannt"/>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IO_GUID" val="ace37d1e-0bcc-4455-9a69-00fcc2cc9d79"/>
  <p:tag name="MIO_STRING_IGNORE_CHECKSUM_FOR_NEXT_SAVE" val="False"/>
  <p:tag name="MIO_EKGUID" val="0c7a4976-cf8a-45c2-96f9-ddad9aa0ff14"/>
  <p:tag name="MIO_UPDATE" val="True"/>
  <p:tag name="MIO_VERSION" val="18.12.2017 14:00:08"/>
  <p:tag name="MIO_DBID" val="917DD09C-76C3-4640-8E0D-382111CB3B69"/>
  <p:tag name="MIO_LASTDOWNLOADED" val="07.03.2018 13:00:08"/>
  <p:tag name="MIO_OBJECTNAME" val="ONE text box (2)"/>
  <p:tag name="MIO_LASTEDITORNAME" val="empower enterpris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bZ_N8lTS1uZbGYWAcruSA"/>
</p:tagLst>
</file>

<file path=ppt/tags/tag27.xml><?xml version="1.0" encoding="utf-8"?>
<p:tagLst xmlns:a="http://schemas.openxmlformats.org/drawingml/2006/main" xmlns:r="http://schemas.openxmlformats.org/officeDocument/2006/relationships" xmlns:p="http://schemas.openxmlformats.org/presentationml/2006/main">
  <p:tag name="MIO_GUID" val="f8a375dd-a658-47b6-8dc4-3fd75cff6141"/>
  <p:tag name="MIO_EKGUID" val="03d737fc-6d25-4cb1-8250-5e92b191a608"/>
  <p:tag name="MIO_UPDATE" val="True"/>
  <p:tag name="MIO_VERSION" val="18.12.2017 14:21:55"/>
  <p:tag name="MIO_DBID" val="917DD09C-76C3-4640-8E0D-382111CB3B69"/>
  <p:tag name="MIO_LASTDOWNLOADED" val="15.03.2018 14:36:35"/>
  <p:tag name="MIO_OBJECTNAME" val="Center Spheres"/>
  <p:tag name="MIO_LASTEDITORNAME" val="empower enterpris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ycjVIpPSI2fGamItqqc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IO_GUID" val="05d482c1-2df8-4e92-a048-f7151db14a77"/>
  <p:tag name="MIO_EKGUID" val="5c3afc5d-c848-4452-ab9d-415f0ea38e45"/>
  <p:tag name="MIO_UPDATE" val="True"/>
  <p:tag name="MIO_VERSION" val="18.12.2017 14:24:54"/>
  <p:tag name="MIO_DBID" val="917DD09C-76C3-4640-8E0D-382111CB3B69"/>
  <p:tag name="MIO_LASTDOWNLOADED" val="15.03.2018 14:37:19"/>
  <p:tag name="MIO_OBJECTNAME" val="Looping Circle Charts 10 Segments"/>
  <p:tag name="MIO_LASTEDITORNAME" val="empower enterpris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NGrST.NRVeiT8ZHtX.2pw"/>
</p:tagLst>
</file>

<file path=ppt/tags/tag33.xml><?xml version="1.0" encoding="utf-8"?>
<p:tagLst xmlns:a="http://schemas.openxmlformats.org/drawingml/2006/main" xmlns:r="http://schemas.openxmlformats.org/officeDocument/2006/relationships" xmlns:p="http://schemas.openxmlformats.org/presentationml/2006/main">
  <p:tag name="MIO_GUID" val="9b561284-3969-4651-a44c-281204eff922"/>
  <p:tag name="MIO_EKGUID" val="e5c7466a-e684-45ff-aae8-706cc9780866"/>
  <p:tag name="MIO_UPDATE" val="True"/>
  <p:tag name="MIO_VERSION" val="18.12.2017 14:22:14"/>
  <p:tag name="MIO_DBID" val="917DD09C-76C3-4640-8E0D-382111CB3B69"/>
  <p:tag name="MIO_LASTDOWNLOADED" val="15.03.2018 14:36:40"/>
  <p:tag name="MIO_OBJECTNAME" val="Center Spheres (7)"/>
  <p:tag name="MIO_LASTEDITORNAME" val="empower enterpris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Utl1vbfR6SDENEBD16hjw"/>
</p:tagLst>
</file>

<file path=ppt/tags/tag36.xml><?xml version="1.0" encoding="utf-8"?>
<p:tagLst xmlns:a="http://schemas.openxmlformats.org/drawingml/2006/main" xmlns:r="http://schemas.openxmlformats.org/officeDocument/2006/relationships" xmlns:p="http://schemas.openxmlformats.org/presentationml/2006/main">
  <p:tag name="MIO_GUID" val="09b4f2e0-26eb-4db4-b10d-0a34e9c91f01"/>
  <p:tag name="MIO_EKGUID" val="e20e03d2-72bc-4352-a738-28e88d9fbd08"/>
  <p:tag name="MIO_UPDATE" val="True"/>
  <p:tag name="MIO_VERSION" val="18.12.2017 14:21:30"/>
  <p:tag name="MIO_DBID" val="917DD09C-76C3-4640-8E0D-382111CB3B69"/>
  <p:tag name="MIO_LASTDOWNLOADED" val="15.03.2018 14:36:28"/>
  <p:tag name="MIO_OBJECTNAME" val="honeycomb"/>
  <p:tag name="MIO_LASTEDITORNAME" val="empower enterprise"/>
  <p:tag name="FB-SLIDENAME" val="Honeycomb."/>
  <p:tag name="FB-CATEGORY" val="Unbenann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gCR7OKuSKeQUJdLX7P_R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IO_GUID" val="ace37d1e-0bcc-4455-9a69-00fcc2cc9d79"/>
  <p:tag name="MIO_STRING_IGNORE_CHECKSUM_FOR_NEXT_SAVE" val="False"/>
  <p:tag name="MIO_EKGUID" val="0c7a4976-cf8a-45c2-96f9-ddad9aa0ff14"/>
  <p:tag name="MIO_UPDATE" val="True"/>
  <p:tag name="MIO_VERSION" val="18.12.2017 14:00:08"/>
  <p:tag name="MIO_DBID" val="917DD09C-76C3-4640-8E0D-382111CB3B69"/>
  <p:tag name="MIO_LASTDOWNLOADED" val="07.03.2018 13:00:08"/>
  <p:tag name="MIO_OBJECTNAME" val="ONE text box (2)"/>
  <p:tag name="MIO_LASTEDITORNAME" val="empower enterpris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bZ_N8lTS1uZbGYWAcruSA"/>
</p:tagLst>
</file>

<file path=ppt/tags/tag43.xml><?xml version="1.0" encoding="utf-8"?>
<p:tagLst xmlns:a="http://schemas.openxmlformats.org/drawingml/2006/main" xmlns:r="http://schemas.openxmlformats.org/officeDocument/2006/relationships" xmlns:p="http://schemas.openxmlformats.org/presentationml/2006/main">
  <p:tag name="MIO_GUID" val="b476633a-44ca-4b53-911b-71d38d0104c5"/>
  <p:tag name="MIO_EKGUID" val="47efae19-56e7-47a2-826b-da7935337f17"/>
  <p:tag name="MIO_UPDATE" val="True"/>
  <p:tag name="MIO_VERSION" val="18.12.2017 14:22:25"/>
  <p:tag name="MIO_DBID" val="917DD09C-76C3-4640-8E0D-382111CB3B69"/>
  <p:tag name="MIO_LASTDOWNLOADED" val="15.03.2018 14:36:44"/>
  <p:tag name="MIO_OBJECTNAME" val="Center Spheres (11)"/>
  <p:tag name="MIO_LASTEDITORNAME" val="empower enterpris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Tzf8jzURQqMtC3qgJKwLQ"/>
</p:tagLst>
</file>

<file path=ppt/tags/tag46.xml><?xml version="1.0" encoding="utf-8"?>
<p:tagLst xmlns:a="http://schemas.openxmlformats.org/drawingml/2006/main" xmlns:r="http://schemas.openxmlformats.org/officeDocument/2006/relationships" xmlns:p="http://schemas.openxmlformats.org/presentationml/2006/main">
  <p:tag name="MIO_GUID" val="d3e85394-3c78-4658-8eb4-d894b5999e26"/>
  <p:tag name="MIO_STRING_IGNORE_CHECKSUM_FOR_NEXT_SAVE" val="False"/>
  <p:tag name="MIO_EKGUID" val="a9e7f0ae-7ef4-4d5e-9d1e-e41345afaa4a"/>
  <p:tag name="MIO_UPDATE" val="True"/>
  <p:tag name="MIO_VERSION" val="18.12.2017 13:20:20"/>
  <p:tag name="MIO_DBID" val="917DD09C-76C3-4640-8E0D-382111CB3B69"/>
  <p:tag name="MIO_LASTDOWNLOADED" val="15.03.2018 15:13:38"/>
  <p:tag name="MIO_OBJECTNAME" val="Donut MIT dETAILS (2)"/>
  <p:tag name="MIO_LASTEDITORNAME" val="empower enterpris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CZzdNAHRuC4Vcjn0AIw0g"/>
</p:tagLst>
</file>

<file path=ppt/tags/tag49.xml><?xml version="1.0" encoding="utf-8"?>
<p:tagLst xmlns:a="http://schemas.openxmlformats.org/drawingml/2006/main" xmlns:r="http://schemas.openxmlformats.org/officeDocument/2006/relationships" xmlns:p="http://schemas.openxmlformats.org/presentationml/2006/main">
  <p:tag name="MIO_GUID" val="47f04741-2e56-40a4-a893-3effceb53d93"/>
  <p:tag name="MIO_STRING_IGNORE_CHECKSUM_FOR_NEXT_SAVE" val="False"/>
  <p:tag name="MIO_EKGUID" val="fcf8285b-8c18-4437-8ef6-2f047abf728d"/>
  <p:tag name="MIO_UPDATE" val="True"/>
  <p:tag name="MIO_VERSION" val="18.12.2017 14:00:33"/>
  <p:tag name="MIO_DBID" val="917DD09C-76C3-4640-8E0D-382111CB3B69"/>
  <p:tag name="MIO_LASTDOWNLOADED" val="07.03.2018 13:00:17"/>
  <p:tag name="MIO_OBJECTNAME" val="Table with Placeholders for Pictures/Grafics 3x3 (3)"/>
  <p:tag name="MIO_LASTEDITORNAME" val="empower enterpri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beBYhpcSQ6Y8nTKZierQQ"/>
</p:tagLst>
</file>

<file path=ppt/tags/tag52.xml><?xml version="1.0" encoding="utf-8"?>
<p:tagLst xmlns:a="http://schemas.openxmlformats.org/drawingml/2006/main" xmlns:r="http://schemas.openxmlformats.org/officeDocument/2006/relationships" xmlns:p="http://schemas.openxmlformats.org/presentationml/2006/main">
  <p:tag name="MIO_GUID" val="a10530eb-1f2e-4d37-a40e-088548e436a4"/>
  <p:tag name="MIO_EKGUID" val="0e211cc5-f2d2-4962-9e5f-ec0bc63fdf0a"/>
  <p:tag name="MIO_UPDATE" val="True"/>
  <p:tag name="MIO_VERSION" val="18.12.2017 14:21:33"/>
  <p:tag name="MIO_DBID" val="917DD09C-76C3-4640-8E0D-382111CB3B69"/>
  <p:tag name="MIO_LASTDOWNLOADED" val="15.03.2018 14:36:29"/>
  <p:tag name="MIO_OBJECTNAME" val="Bubbles"/>
  <p:tag name="MIO_LASTEDITORNAME" val="empower enterprise"/>
  <p:tag name="FB-SLIDENAME" val="Bubbles."/>
  <p:tag name="FB-CATEGORY" val="Unbenannt"/>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MIO_GUID" val="9dadfdb6-8222-42c3-b066-df233bc6cb7e"/>
  <p:tag name="MIO_STRING_IGNORE_CHECKSUM_FOR_NEXT_SAVE" val="False"/>
  <p:tag name="MIO_EKGUID" val="67c52c0a-d1fa-4880-b559-d8e86004119c"/>
  <p:tag name="MIO_UPDATE" val="True"/>
  <p:tag name="MIO_VERSION" val="18.12.2017 14:00:53"/>
  <p:tag name="MIO_DBID" val="917DD09C-76C3-4640-8E0D-382111CB3B69"/>
  <p:tag name="MIO_LASTDOWNLOADED" val="07.03.2018 13:00:24"/>
  <p:tag name="MIO_OBJECTNAME" val="Table with Placeholders for Pictures/Grafics 5x3 (10)"/>
  <p:tag name="MIO_LASTEDITORNAME" val="empower enterpris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0jZPz5SsQVyu2GsNHxpXqg"/>
</p:tagLst>
</file>

<file path=ppt/tags/tag57.xml><?xml version="1.0" encoding="utf-8"?>
<p:tagLst xmlns:a="http://schemas.openxmlformats.org/drawingml/2006/main" xmlns:r="http://schemas.openxmlformats.org/officeDocument/2006/relationships" xmlns:p="http://schemas.openxmlformats.org/presentationml/2006/main">
  <p:tag name="MIO_GUID" val="9dadfdb6-8222-42c3-b066-df233bc6cb7e"/>
  <p:tag name="MIO_STRING_IGNORE_CHECKSUM_FOR_NEXT_SAVE" val="False"/>
  <p:tag name="MIO_EKGUID" val="67c52c0a-d1fa-4880-b559-d8e86004119c"/>
  <p:tag name="MIO_UPDATE" val="True"/>
  <p:tag name="MIO_VERSION" val="18.12.2017 14:00:53"/>
  <p:tag name="MIO_DBID" val="917DD09C-76C3-4640-8E0D-382111CB3B69"/>
  <p:tag name="MIO_LASTDOWNLOADED" val="07.03.2018 13:00:24"/>
  <p:tag name="MIO_OBJECTNAME" val="Table with Placeholders for Pictures/Grafics 5x3 (10)"/>
  <p:tag name="MIO_LASTEDITORNAME" val="empower enterpris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jZPz5SsQVyu2GsNHxpX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IO_GUID" val="81b3510d-184e-44f4-b6ad-65cf56eb56a0"/>
  <p:tag name="MIO_STRING_IGNORE_CHECKSUM_FOR_NEXT_SAVE" val="False"/>
  <p:tag name="MIO_EKGUID" val="bb480d35-3915-4eab-be30-4edce513de01"/>
  <p:tag name="MIO_UPDATE" val="True"/>
  <p:tag name="MIO_VERSION" val="18.12.2017 14:20:35"/>
  <p:tag name="MIO_DBID" val="917DD09C-76C3-4640-8E0D-382111CB3B69"/>
  <p:tag name="MIO_LASTDOWNLOADED" val="15.03.2018 14:36:12"/>
  <p:tag name="MIO_OBJECTNAME" val="Chancen und Risiken"/>
  <p:tag name="MIO_LASTEDITORNAME" val="empower enterprise"/>
  <p:tag name="FB-SLIDENAME" val="Chances and Risks."/>
  <p:tag name="FB-CATEGORY" val="Unbenannt"/>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w6RZg4Q9CXiA6Q45lV4w"/>
</p:tagLst>
</file>

<file path=ppt/tags/tag63.xml><?xml version="1.0" encoding="utf-8"?>
<p:tagLst xmlns:a="http://schemas.openxmlformats.org/drawingml/2006/main" xmlns:r="http://schemas.openxmlformats.org/officeDocument/2006/relationships" xmlns:p="http://schemas.openxmlformats.org/presentationml/2006/main">
  <p:tag name="MIO_GUID" val="7b6c038c-72e1-4624-8a33-caf956886320"/>
  <p:tag name="MIO_STRING_IGNORE_CHECKSUM_FOR_NEXT_SAVE" val="False"/>
  <p:tag name="MIO_EKGUID" val="e24bed0f-2aca-495e-86ba-7011d37b9a93"/>
  <p:tag name="MIO_UPDATE" val="True"/>
  <p:tag name="MIO_VERSION" val="18.12.2017 13:20:23"/>
  <p:tag name="MIO_DBID" val="917DD09C-76C3-4640-8E0D-382111CB3B69"/>
  <p:tag name="MIO_LASTDOWNLOADED" val="15.03.2018 15:13:40"/>
  <p:tag name="MIO_OBJECTNAME" val="3 Donuts mit Bildern und Text (2)"/>
  <p:tag name="MIO_LASTEDITORNAME" val="empower enterpris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6sheKDtRV68Xtv.G3J3H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MIO_GUID" val="7eb0c294-aae7-4689-bb45-66e1b39a1efb"/>
  <p:tag name="MIO_EK" val="2286"/>
  <p:tag name="MIO_EK_DESIGN" val="1989"/>
  <p:tag name="MIO_VERSION_DESIGN" val="15.12.2015 10:26:02"/>
  <p:tag name="MIO_DBID_DESIGN" val="917DD09C-76C3-4640-8E0D-382111CB3B69"/>
  <p:tag name="MIO_STRING_IGNORE_CHECKSUM_FOR_NEXT_SAVE" val="True"/>
  <p:tag name="MIO_EKGUID" val="f1909690-73af-4bfe-b71f-28fb61175f4d"/>
  <p:tag name="MIO_UPDATE" val="True"/>
  <p:tag name="MIO_VERSION" val="18.12.2017 13:21:03"/>
  <p:tag name="MIO_DBID" val="917DD09C-76C3-4640-8E0D-382111CB3B69"/>
  <p:tag name="MIO_LASTDOWNLOADED" val="15.03.2018 15:14:02"/>
  <p:tag name="MIO_OBJECTNAME" val="Area (2)"/>
  <p:tag name="MIO_LASTEDITORNAME" val="empower enterpris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yJfq.lxRyGwDZZirh_EDA"/>
</p:tagLst>
</file>

<file path=ppt/tags/tag87.xml><?xml version="1.0" encoding="utf-8"?>
<p:tagLst xmlns:a="http://schemas.openxmlformats.org/drawingml/2006/main" xmlns:r="http://schemas.openxmlformats.org/officeDocument/2006/relationships" xmlns:p="http://schemas.openxmlformats.org/presentationml/2006/main">
  <p:tag name="MIO_USERGROUPED" val="false"/>
  <p:tag name="MIO_SHAPETYPES_SHAPECONTAINER" val="MIO_CHART"/>
  <p:tag name="MIO_CATEGORY" val="Column chart"/>
  <p:tag name="MIO_NAME" val="whole page"/>
  <p:tag name="MIO_GUID" val="ff661930-abc8-4a1e-a33f-038a798a4998"/>
  <p:tag name="MIO_VERSION" val="18.12.2015 12:31:46"/>
  <p:tag name="MIO_DBID" val="917DD09C-76C3-4640-8E0D-382111CB3B69"/>
  <p:tag name="MIO_LASTDOWNLOADED" val="18.12.2015 13:58:07"/>
  <p:tag name="MIO_OBJECTNAME" val="Area"/>
  <p:tag name="MIO_LASTEDITORNAME" val="(Katharina Kampen)"/>
  <p:tag name="MIO_UPDATE" val="False"/>
</p:tagLst>
</file>

<file path=ppt/tags/tag88.xml><?xml version="1.0" encoding="utf-8"?>
<p:tagLst xmlns:a="http://schemas.openxmlformats.org/drawingml/2006/main" xmlns:r="http://schemas.openxmlformats.org/officeDocument/2006/relationships" xmlns:p="http://schemas.openxmlformats.org/presentationml/2006/main">
  <p:tag name="MIO_GUID" val="7eb0c294-aae7-4689-bb45-66e1b39a1efb"/>
  <p:tag name="MIO_EK" val="2286"/>
  <p:tag name="MIO_EK_DESIGN" val="1989"/>
  <p:tag name="MIO_VERSION_DESIGN" val="15.12.2015 10:26:02"/>
  <p:tag name="MIO_DBID_DESIGN" val="917DD09C-76C3-4640-8E0D-382111CB3B69"/>
  <p:tag name="MIO_STRING_IGNORE_CHECKSUM_FOR_NEXT_SAVE" val="True"/>
  <p:tag name="MIO_EKGUID" val="f1909690-73af-4bfe-b71f-28fb61175f4d"/>
  <p:tag name="MIO_UPDATE" val="True"/>
  <p:tag name="MIO_VERSION" val="18.12.2017 13:21:03"/>
  <p:tag name="MIO_DBID" val="917DD09C-76C3-4640-8E0D-382111CB3B69"/>
  <p:tag name="MIO_LASTDOWNLOADED" val="15.03.2018 15:14:02"/>
  <p:tag name="MIO_OBJECTNAME" val="Area (2)"/>
  <p:tag name="MIO_LASTEDITORNAME" val="empower enterpris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yJfq.lxRyGwDZZirh_EDA"/>
</p:tagLst>
</file>

<file path=ppt/tags/tag91.xml><?xml version="1.0" encoding="utf-8"?>
<p:tagLst xmlns:a="http://schemas.openxmlformats.org/drawingml/2006/main" xmlns:r="http://schemas.openxmlformats.org/officeDocument/2006/relationships" xmlns:p="http://schemas.openxmlformats.org/presentationml/2006/main">
  <p:tag name="MIO_USERGROUPED" val="false"/>
  <p:tag name="MIO_SHAPETYPES_SHAPECONTAINER" val="MIO_CHART"/>
  <p:tag name="MIO_CATEGORY" val="Column chart"/>
  <p:tag name="MIO_NAME" val="whole page"/>
  <p:tag name="MIO_GUID" val="ff661930-abc8-4a1e-a33f-038a798a4998"/>
  <p:tag name="MIO_VERSION" val="18.12.2015 12:31:46"/>
  <p:tag name="MIO_DBID" val="917DD09C-76C3-4640-8E0D-382111CB3B69"/>
  <p:tag name="MIO_LASTDOWNLOADED" val="18.12.2015 13:58:07"/>
  <p:tag name="MIO_OBJECTNAME" val="Area"/>
  <p:tag name="MIO_LASTEDITORNAME" val="(Katharina Kampen)"/>
  <p:tag name="MIO_UPDATE" val="False"/>
</p:tagLst>
</file>

<file path=ppt/tags/tag92.xml><?xml version="1.0" encoding="utf-8"?>
<p:tagLst xmlns:a="http://schemas.openxmlformats.org/drawingml/2006/main" xmlns:r="http://schemas.openxmlformats.org/officeDocument/2006/relationships" xmlns:p="http://schemas.openxmlformats.org/presentationml/2006/main">
  <p:tag name="MIO_GUID" val="9205989d-a42b-4ff3-92bb-46ad4a8442b6"/>
  <p:tag name="MIO_EKGUID" val="34971681-bc39-49cd-92ac-c9fb8881c671"/>
  <p:tag name="MIO_UPDATE" val="True"/>
  <p:tag name="MIO_VERSION" val="18.12.2017 14:24:46"/>
  <p:tag name="MIO_DBID" val="917DD09C-76C3-4640-8E0D-382111CB3B69"/>
  <p:tag name="MIO_LASTDOWNLOADED" val="15.03.2018 14:37:17"/>
  <p:tag name="MIO_OBJECTNAME" val="Looping Circle Charts 2 Segments (2)"/>
  <p:tag name="MIO_LASTEDITORNAME" val="empower enterpris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RPnWgQlS06JsfeYBHvmGg"/>
</p:tagLst>
</file>

<file path=ppt/tags/tag95.xml><?xml version="1.0" encoding="utf-8"?>
<p:tagLst xmlns:a="http://schemas.openxmlformats.org/drawingml/2006/main" xmlns:r="http://schemas.openxmlformats.org/officeDocument/2006/relationships" xmlns:p="http://schemas.openxmlformats.org/presentationml/2006/main">
  <p:tag name="MIO_GUID" val="466eabb7-a904-4f66-b301-cfdfef30c664"/>
  <p:tag name="MIO_EKGUID" val="9e15dde4-1add-4133-8292-1e2967f9bc87"/>
  <p:tag name="MIO_UPDATE" val="True"/>
  <p:tag name="MIO_VERSION" val="18.12.2017 14:25:10"/>
  <p:tag name="MIO_DBID" val="917DD09C-76C3-4640-8E0D-382111CB3B69"/>
  <p:tag name="MIO_LASTDOWNLOADED" val="15.03.2018 14:37:23"/>
  <p:tag name="MIO_OBJECTNAME" val="Looping Circle Charts 7 Segments"/>
  <p:tag name="MIO_LASTEDITORNAME" val="empower enterpris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gXtKA0siTmaJHDGCb0WFmw"/>
</p:tagLst>
</file>

<file path=ppt/tags/tag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9.xml><?xml version="1.0" encoding="utf-8"?>
<p:tagLst xmlns:a="http://schemas.openxmlformats.org/drawingml/2006/main" xmlns:r="http://schemas.openxmlformats.org/officeDocument/2006/relationships" xmlns:p="http://schemas.openxmlformats.org/presentationml/2006/main">
  <p:tag name="MIO_GUID" val="1e3e0728-f16f-4273-bad9-f6eaf2ec8996"/>
  <p:tag name="MIO_EKGUID" val="4373cf3c-1d8c-49f1-892b-f34b23fdd20a"/>
  <p:tag name="MIO_UPDATE" val="True"/>
  <p:tag name="MIO_VERSION" val="18.12.2017 14:25:14"/>
  <p:tag name="MIO_DBID" val="917DD09C-76C3-4640-8E0D-382111CB3B69"/>
  <p:tag name="MIO_LASTDOWNLOADED" val="15.03.2018 14:37:24"/>
  <p:tag name="MIO_OBJECTNAME" val="Looping Circle Charts 3 Circles"/>
  <p:tag name="MIO_LASTEDITORNAME" val="empower enterprise"/>
</p:tagLst>
</file>

<file path=ppt/theme/theme1.xml><?xml version="1.0" encoding="utf-8"?>
<a:theme xmlns:a="http://schemas.openxmlformats.org/drawingml/2006/main" name="BMW Group 2021">
  <a:themeElements>
    <a:clrScheme name="BMW Group 21">
      <a:dk1>
        <a:srgbClr val="000000"/>
      </a:dk1>
      <a:lt1>
        <a:srgbClr val="FFFFFF"/>
      </a:lt1>
      <a:dk2>
        <a:srgbClr val="035970"/>
      </a:dk2>
      <a:lt2>
        <a:srgbClr val="92A2BD"/>
      </a:lt2>
      <a:accent1>
        <a:srgbClr val="548D9E"/>
      </a:accent1>
      <a:accent2>
        <a:srgbClr val="85ACB9"/>
      </a:accent2>
      <a:accent3>
        <a:srgbClr val="ABC4CF"/>
      </a:accent3>
      <a:accent4>
        <a:srgbClr val="C8D7E0"/>
      </a:accent4>
      <a:accent5>
        <a:srgbClr val="DEE5EC"/>
      </a:accent5>
      <a:accent6>
        <a:srgbClr val="E8EBF1"/>
      </a:accent6>
      <a:hlink>
        <a:srgbClr val="000000"/>
      </a:hlink>
      <a:folHlink>
        <a:srgbClr val="000000"/>
      </a:folHlink>
    </a:clrScheme>
    <a:fontScheme name="BMW Group 2021">
      <a:majorFont>
        <a:latin typeface="BMWGroupTN Condensed"/>
        <a:ea typeface=""/>
        <a:cs typeface=""/>
      </a:majorFont>
      <a:minorFont>
        <a:latin typeface="BMWGroupTN Condensed"/>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9050">
          <a:noFill/>
          <a:miter lim="800000"/>
        </a:ln>
      </a:spPr>
      <a:bodyPr rtlCol="0" anchor="t" anchorCtr="0"/>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190800" indent="-190800" algn="l" defTabSz="914400" rtl="0" eaLnBrk="1" latinLnBrk="0" hangingPunct="1">
          <a:lnSpc>
            <a:spcPct val="100000"/>
          </a:lnSpc>
          <a:spcBef>
            <a:spcPts val="0"/>
          </a:spcBef>
          <a:spcAft>
            <a:spcPts val="600"/>
          </a:spcAft>
          <a:buClr>
            <a:schemeClr val="tx2"/>
          </a:buClr>
          <a:buFont typeface="Wingdings" panose="05000000000000000000" pitchFamily="2" charset="2"/>
          <a:buChar char="§"/>
          <a:defRPr sz="1800" kern="1200" dirty="0" err="1" smtClean="0">
            <a:solidFill>
              <a:schemeClr val="tx1"/>
            </a:solidFill>
            <a:latin typeface="+mn-lt"/>
            <a:ea typeface="+mn-ea"/>
            <a:cs typeface="+mn-cs"/>
          </a:defRPr>
        </a:defPPr>
      </a:lstStyle>
    </a:txDef>
  </a:objectDefaults>
  <a:extraClrSchemeLst/>
  <a:custClrLst>
    <a:custClr name="Ocean Blue">
      <a:srgbClr val="035970"/>
    </a:custClr>
    <a:custClr name="Night Blue">
      <a:srgbClr val="173B68"/>
    </a:custClr>
    <a:custClr name="Sky Blue">
      <a:srgbClr val="7B9AC0"/>
    </a:custClr>
    <a:custClr name="Turquoise">
      <a:srgbClr val="009A97"/>
    </a:custClr>
    <a:custClr name="Yellow">
      <a:srgbClr val="FAD022"/>
    </a:custClr>
    <a:custClr name="Orange">
      <a:srgbClr val="E96D0C"/>
    </a:custClr>
    <a:custClr name="Purple">
      <a:srgbClr val="8D1E77"/>
    </a:custClr>
    <a:custClr name="Red">
      <a:srgbClr val="AC1640"/>
    </a:custClr>
    <a:custClr name="Cyan">
      <a:srgbClr val="079EDA"/>
    </a:custClr>
    <a:custClr name="Green">
      <a:srgbClr val="508130"/>
    </a:custClr>
    <a:custClr name="Ocean Blue darker">
      <a:srgbClr val="024152"/>
    </a:custClr>
    <a:custClr name="Night Blue darker">
      <a:srgbClr val="133155"/>
    </a:custClr>
    <a:custClr name="Sky Blue darker">
      <a:srgbClr val="5179A9"/>
    </a:custClr>
    <a:custClr name="Turquoise darker">
      <a:srgbClr val="00777A"/>
    </a:custClr>
    <a:custClr name="Yellow darker">
      <a:srgbClr val="D2A000"/>
    </a:custClr>
    <a:custClr name="Orange darker">
      <a:srgbClr val="AF5009"/>
    </a:custClr>
    <a:custClr name="Purple darker">
      <a:srgbClr val="6B175B"/>
    </a:custClr>
    <a:custClr name="Red darker">
      <a:srgbClr val="76102D"/>
    </a:custClr>
    <a:custClr name="Cyan darker">
      <a:srgbClr val="05709B"/>
    </a:custClr>
    <a:custClr name="Green darker">
      <a:srgbClr val="365620"/>
    </a:custClr>
    <a:custClr name="Ocean Blue 30% lighter">
      <a:srgbClr val="4F8B9B"/>
    </a:custClr>
    <a:custClr name="Night Blue 30% lighter">
      <a:srgbClr val="687F9D"/>
    </a:custClr>
    <a:custClr name="Sky Blue 30% lighter">
      <a:srgbClr val="A8BED4"/>
    </a:custClr>
    <a:custClr name="Turquoise 30% lighter">
      <a:srgbClr val="66C2C1"/>
    </a:custClr>
    <a:custClr name="Yellow 30% lighter">
      <a:srgbClr val="FCE37A"/>
    </a:custClr>
    <a:custClr name="Orange 30% lighter">
      <a:srgbClr val="F69954"/>
    </a:custClr>
    <a:custClr name="Purple 30% lighter">
      <a:srgbClr val="BB78AD"/>
    </a:custClr>
    <a:custClr name="Red 30% lighter">
      <a:srgbClr val="CD738C"/>
    </a:custClr>
    <a:custClr name="Cyan 30% lighter">
      <a:srgbClr val="6DCBF1"/>
    </a:custClr>
    <a:custClr name="Green 30% lighter">
      <a:srgbClr val="8BB86D"/>
    </a:custClr>
    <a:custClr name="Ocean Blue 60% lighter">
      <a:srgbClr val="A7C5CD"/>
    </a:custClr>
    <a:custClr name="Night Blue 60% lighter">
      <a:srgbClr val="B9C4D1"/>
    </a:custClr>
    <a:custClr name="Sky Blue 60% lighter">
      <a:srgbClr val="D0DDE8"/>
    </a:custClr>
    <a:custClr name="Turquoise 60% lighter">
      <a:srgbClr val="B2E0E0"/>
    </a:custClr>
    <a:custClr name="Yellow 60% lighter">
      <a:srgbClr val="FDF1BC"/>
    </a:custClr>
    <a:custClr name="Orange 60% lighter">
      <a:srgbClr val="FBCCA9"/>
    </a:custClr>
    <a:custClr name="Purple 60% lighter">
      <a:srgbClr val="DDBBD6"/>
    </a:custClr>
    <a:custClr name="Red 60% lighter">
      <a:srgbClr val="E6B9C5"/>
    </a:custClr>
    <a:custClr name="Cyan 60% lighter">
      <a:srgbClr val="B1E7FD"/>
    </a:custClr>
    <a:custClr name="Green 60% lighter">
      <a:srgbClr val="C9DEBB"/>
    </a:custClr>
  </a:custClrLst>
  <a:extLst>
    <a:ext uri="{05A4C25C-085E-4340-85A3-A5531E510DB2}">
      <thm15:themeFamily xmlns:thm15="http://schemas.microsoft.com/office/thememl/2012/main" name="Key Note Slides Examples.potx" id="{EE3CB782-CC6E-4A0B-B664-7E7E8873EB09}" vid="{861BF70D-EBF7-41E5-9C21-C14ED4D4DC5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6935750-240b-48e4-a615-66942a738439}" enabled="1" method="Standard" siteId="{ce849bab-cc1c-465b-b62e-18f07c9ac198}" contentBits="2" removed="0"/>
</clbl:labelList>
</file>

<file path=docProps/app.xml><?xml version="1.0" encoding="utf-8"?>
<Properties xmlns="http://schemas.openxmlformats.org/officeDocument/2006/extended-properties" xmlns:vt="http://schemas.openxmlformats.org/officeDocument/2006/docPropsVTypes">
  <Template/>
  <TotalTime>0</TotalTime>
  <Words>3992</Words>
  <Application>Microsoft Office PowerPoint</Application>
  <PresentationFormat>Widescreen</PresentationFormat>
  <Paragraphs>443</Paragraphs>
  <Slides>50</Slides>
  <Notes>4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6" baseType="lpstr">
      <vt:lpstr>Arial</vt:lpstr>
      <vt:lpstr>BMW Group Condensed</vt:lpstr>
      <vt:lpstr>BMWGroupTN Condensed</vt:lpstr>
      <vt:lpstr>Wingdings</vt:lpstr>
      <vt:lpstr>BMW Group 2021</vt:lpstr>
      <vt:lpstr>think-cell Folie</vt:lpstr>
      <vt:lpstr>Data driven decision support system for global manufacturing plants</vt:lpstr>
      <vt:lpstr>INTERNSHIP DETAILS</vt:lpstr>
      <vt:lpstr>Organization Profile</vt:lpstr>
      <vt:lpstr>ABOUT PROJECT</vt:lpstr>
      <vt:lpstr>PROBLEM STATEMENT</vt:lpstr>
      <vt:lpstr>OBJECTIVES</vt:lpstr>
      <vt:lpstr>Tools and technologies</vt:lpstr>
      <vt:lpstr>Countries Involved in the Project</vt:lpstr>
      <vt:lpstr>Tools and technologies</vt:lpstr>
      <vt:lpstr>PowerPoint Presentation</vt:lpstr>
      <vt:lpstr>PowerPoint Presentation</vt:lpstr>
      <vt:lpstr>PowerPoint Presentation</vt:lpstr>
      <vt:lpstr>Center Spheres.</vt:lpstr>
      <vt:lpstr>Donut and bars for details.</vt:lpstr>
      <vt:lpstr>Table with Placeholders for Pictures/Grafics. 3x3.</vt:lpstr>
      <vt:lpstr>Bubbles.</vt:lpstr>
      <vt:lpstr>Table with Placeholders for Pictures/Grafics. 5x3.</vt:lpstr>
      <vt:lpstr>Table with Placeholders for Pictures/Grafics. 5x3.</vt:lpstr>
      <vt:lpstr>Chances and Risks.</vt:lpstr>
      <vt:lpstr>3 Donuts with pictures and Text. </vt:lpstr>
      <vt:lpstr>PowerPoint Presentation</vt:lpstr>
      <vt:lpstr>Nunc viverra  imperdiet enim. Fusce es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ecenas porttitor  congue mass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rem ipsum dolor sit amet.</vt:lpstr>
      <vt:lpstr>Stacked Areas.</vt:lpstr>
      <vt:lpstr>Stacked Areas.</vt:lpstr>
      <vt:lpstr>Looping Circle Charts. 2 Segments.</vt:lpstr>
      <vt:lpstr>Looping Circle Charts. 7 Segments.</vt:lpstr>
      <vt:lpstr>Looping Circle Charts. 3 Circles.</vt:lpstr>
      <vt:lpstr>Looping Circle Charts. 2 Segments.</vt:lpstr>
      <vt:lpstr>SWOT.</vt:lpstr>
      <vt:lpstr>Pyramid. 3 Segements.</vt:lpstr>
      <vt:lpstr>Pyramid. 3 Segements.</vt:lpstr>
      <vt:lpstr>Cyklus. Smartart – Please edit Alignment manually.</vt:lpstr>
      <vt:lpstr>Timetab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MW Group TN Condensed. 26 pt.</dc:title>
  <dc:creator>Mazur Karen, AU-1</dc:creator>
  <cp:lastModifiedBy>Kalidas Aditya</cp:lastModifiedBy>
  <cp:revision>23</cp:revision>
  <dcterms:created xsi:type="dcterms:W3CDTF">2021-11-05T10:41:52Z</dcterms:created>
  <dcterms:modified xsi:type="dcterms:W3CDTF">2025-12-11T05:0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BMW Group 2021:6</vt:lpwstr>
  </property>
  <property fmtid="{D5CDD505-2E9C-101B-9397-08002B2CF9AE}" pid="3" name="ClassificationContentMarkingFooterText">
    <vt:lpwstr>CONFIDENTIAL</vt:lpwstr>
  </property>
</Properties>
</file>